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3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4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5.xml" ContentType="application/vnd.openxmlformats-officedocument.drawingml.chartshape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7" r:id="rId2"/>
    <p:sldId id="303" r:id="rId3"/>
    <p:sldId id="304" r:id="rId4"/>
    <p:sldId id="291" r:id="rId5"/>
    <p:sldId id="284" r:id="rId6"/>
    <p:sldId id="285" r:id="rId7"/>
    <p:sldId id="286" r:id="rId8"/>
    <p:sldId id="287" r:id="rId9"/>
    <p:sldId id="289" r:id="rId10"/>
    <p:sldId id="290" r:id="rId11"/>
    <p:sldId id="271" r:id="rId12"/>
    <p:sldId id="273" r:id="rId13"/>
    <p:sldId id="274" r:id="rId14"/>
    <p:sldId id="276" r:id="rId15"/>
    <p:sldId id="277" r:id="rId16"/>
    <p:sldId id="281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388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1" d="100"/>
          <a:sy n="71" d="100"/>
        </p:scale>
        <p:origin x="72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2808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4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0646958493232742"/>
          <c:y val="0.1706696943637705"/>
          <c:w val="0.59684774288734632"/>
          <c:h val="0.6320501324617482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TISH PATIL TASK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14E-44D7-A887-1FBD0F94E7B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14E-44D7-A887-1FBD0F94E7B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4</c:f>
              <c:strCache>
                <c:ptCount val="3"/>
                <c:pt idx="0">
                  <c:v>Completed</c:v>
                </c:pt>
                <c:pt idx="1">
                  <c:v>In Progress</c:v>
                </c:pt>
                <c:pt idx="2">
                  <c:v>To Do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14E-44D7-A887-1FBD0F94E7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26852561302825562"/>
          <c:y val="0.91208987608680347"/>
          <c:w val="0.53083872603483706"/>
          <c:h val="7.236359296244043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 smtClean="0"/>
              <a:t>Complexity</a:t>
            </a:r>
            <a:endParaRPr lang="en-IN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ig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Sreehari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929-4152-9040-ACE24A1A52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Sreehari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929-4152-9040-ACE24A1A52D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Sreehari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929-4152-9040-ACE24A1A52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023996160"/>
        <c:axId val="-1023999424"/>
      </c:barChart>
      <c:catAx>
        <c:axId val="-1023996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023999424"/>
        <c:crosses val="autoZero"/>
        <c:auto val="1"/>
        <c:lblAlgn val="ctr"/>
        <c:lblOffset val="100"/>
        <c:noMultiLvlLbl val="0"/>
      </c:catAx>
      <c:valAx>
        <c:axId val="-1023999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023996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 smtClean="0"/>
              <a:t>Complexity</a:t>
            </a:r>
            <a:endParaRPr lang="en-IN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ig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Satish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5D4-44EC-87A5-14C692E1090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Satish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5D4-44EC-87A5-14C692E1090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Satish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5D4-44EC-87A5-14C692E109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121488016"/>
        <c:axId val="-1121480944"/>
      </c:barChart>
      <c:catAx>
        <c:axId val="-1121488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21480944"/>
        <c:crosses val="autoZero"/>
        <c:auto val="1"/>
        <c:lblAlgn val="ctr"/>
        <c:lblOffset val="100"/>
        <c:noMultiLvlLbl val="0"/>
      </c:catAx>
      <c:valAx>
        <c:axId val="-1121480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21488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4497055970866235"/>
          <c:y val="0.12356109116670974"/>
          <c:w val="0.65448756660475127"/>
          <c:h val="0.7003652820680509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tanu Task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46E-4399-BA9B-6AB10CFC651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46E-4399-BA9B-6AB10CFC651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46E-4399-BA9B-6AB10CFC65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4</c:f>
              <c:strCache>
                <c:ptCount val="3"/>
                <c:pt idx="0">
                  <c:v>Completed</c:v>
                </c:pt>
                <c:pt idx="1">
                  <c:v>In Progress</c:v>
                </c:pt>
                <c:pt idx="2">
                  <c:v>To Do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</c:v>
                </c:pt>
                <c:pt idx="1">
                  <c:v>1</c:v>
                </c:pt>
                <c:pt idx="2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F46E-4399-BA9B-6AB10CFC651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4793574833697809"/>
          <c:y val="0.85908969350535558"/>
          <c:w val="0.64386245032284428"/>
          <c:h val="0.115003776845641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Complexity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ig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tanu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171-4AC9-B4CF-F33EDD3838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tanu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171-4AC9-B4CF-F33EDD3838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tanu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171-4AC9-B4CF-F33EDD3838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121477680"/>
        <c:axId val="-1121484752"/>
      </c:barChart>
      <c:catAx>
        <c:axId val="-1121477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21484752"/>
        <c:crosses val="autoZero"/>
        <c:auto val="1"/>
        <c:lblAlgn val="ctr"/>
        <c:lblOffset val="100"/>
        <c:noMultiLvlLbl val="0"/>
      </c:catAx>
      <c:valAx>
        <c:axId val="-11214847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21477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 smtClean="0"/>
              <a:t>Ashish </a:t>
            </a:r>
            <a:r>
              <a:rPr lang="en-IN" dirty="0"/>
              <a:t>Task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tanu Task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46E-4399-BA9B-6AB10CFC651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46E-4399-BA9B-6AB10CFC651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46E-4399-BA9B-6AB10CFC65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4</c:f>
              <c:strCache>
                <c:ptCount val="3"/>
                <c:pt idx="0">
                  <c:v>Completed</c:v>
                </c:pt>
                <c:pt idx="1">
                  <c:v>In Progress</c:v>
                </c:pt>
                <c:pt idx="2">
                  <c:v>To Do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F46E-4399-BA9B-6AB10CFC651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Complexity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ig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shish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171-4AC9-B4CF-F33EDD3838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shish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171-4AC9-B4CF-F33EDD3838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shish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171-4AC9-B4CF-F33EDD3838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121489648"/>
        <c:axId val="-1121482576"/>
      </c:barChart>
      <c:catAx>
        <c:axId val="-1121489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21482576"/>
        <c:crosses val="autoZero"/>
        <c:auto val="1"/>
        <c:lblAlgn val="ctr"/>
        <c:lblOffset val="100"/>
        <c:noMultiLvlLbl val="0"/>
      </c:catAx>
      <c:valAx>
        <c:axId val="-1121482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21489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1588132287802298E-2"/>
          <c:y val="0.16497515768709939"/>
          <c:w val="0.87468383597033916"/>
          <c:h val="0.6553678327311319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ijay Kumar Task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E8C-4BFF-99F6-CE21382ACF9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E8C-4BFF-99F6-CE21382ACF9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E8C-4BFF-99F6-CE21382ACF91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fld id="{3F715B42-A733-4556-BA81-D5D66679FC73}" type="VALUE">
                      <a:rPr lang="en-US" smtClean="0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E8C-4BFF-99F6-CE21382ACF91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7762CA1E-F7A8-4CD9-AEFC-7416D6144156}" type="VALUE">
                      <a:rPr lang="en-US" smtClean="0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E8C-4BFF-99F6-CE21382ACF91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0EB400E6-2732-414D-B76F-43B9393A25CB}" type="VALUE">
                      <a:rPr lang="en-US" smtClean="0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E8C-4BFF-99F6-CE21382ACF91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Completed</c:v>
                </c:pt>
                <c:pt idx="1">
                  <c:v>In Progress</c:v>
                </c:pt>
                <c:pt idx="2">
                  <c:v>To Do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</c:v>
                </c:pt>
                <c:pt idx="1">
                  <c:v>1</c:v>
                </c:pt>
                <c:pt idx="2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6E8C-4BFF-99F6-CE21382ACF9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8432739881360349"/>
          <c:y val="0.89886505652122495"/>
          <c:w val="0.68267284799115413"/>
          <c:h val="6.23829535381073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Complexity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ig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Vijay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B05-4C7D-A035-374224A5A6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Vijay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B05-4C7D-A035-374224A5A6B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Vijay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3B05-4C7D-A035-374224A5A6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121483664"/>
        <c:axId val="-1121479312"/>
      </c:barChart>
      <c:catAx>
        <c:axId val="-1121483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21479312"/>
        <c:crosses val="autoZero"/>
        <c:auto val="1"/>
        <c:lblAlgn val="ctr"/>
        <c:lblOffset val="100"/>
        <c:noMultiLvlLbl val="0"/>
      </c:catAx>
      <c:valAx>
        <c:axId val="-1121479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21483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 smtClean="0"/>
              <a:t>Sreehari </a:t>
            </a:r>
            <a:r>
              <a:rPr lang="en-IN" dirty="0"/>
              <a:t>Task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9340482098499452E-2"/>
          <c:y val="0.15417589789117653"/>
          <c:w val="0.89499411662783901"/>
          <c:h val="0.6883467641977989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reehari Task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695-4D67-83DB-0197EDDEFD7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695-4D67-83DB-0197EDDEFD7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695-4D67-83DB-0197EDDEFD74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fld id="{3F715B42-A733-4556-BA81-D5D66679FC73}" type="VALUE">
                      <a:rPr lang="en-US" smtClean="0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695-4D67-83DB-0197EDDEFD74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7762CA1E-F7A8-4CD9-AEFC-7416D6144156}" type="VALUE">
                      <a:rPr lang="en-US" smtClean="0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0695-4D67-83DB-0197EDDEFD74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0EB400E6-2732-414D-B76F-43B9393A25CB}" type="VALUE">
                      <a:rPr lang="en-US" smtClean="0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0695-4D67-83DB-0197EDDEFD74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Completed</c:v>
                </c:pt>
                <c:pt idx="1">
                  <c:v>In Progress</c:v>
                </c:pt>
                <c:pt idx="2">
                  <c:v>To Do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0695-4D67-83DB-0197EDDEFD7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753910293279648"/>
          <c:y val="0.90079651743931244"/>
          <c:w val="0.66912079982987327"/>
          <c:h val="7.90102066654780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6713</cdr:x>
      <cdr:y>0.4332</cdr:y>
    </cdr:from>
    <cdr:to>
      <cdr:x>0.63813</cdr:x>
      <cdr:y>0.58704</cdr:y>
    </cdr:to>
    <cdr:sp macro="" textlink="">
      <cdr:nvSpPr>
        <cdr:cNvPr id="2" name="TextBox 66"/>
        <cdr:cNvSpPr txBox="1"/>
      </cdr:nvSpPr>
      <cdr:spPr>
        <a:xfrm xmlns:a="http://schemas.openxmlformats.org/drawingml/2006/main">
          <a:off x="1905598" y="2123279"/>
          <a:ext cx="1406604" cy="75405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b="1" dirty="0" smtClean="0"/>
            <a:t>TOTAL TASKS</a:t>
          </a:r>
        </a:p>
        <a:p xmlns:a="http://schemas.openxmlformats.org/drawingml/2006/main">
          <a:pPr algn="ctr"/>
          <a:r>
            <a:rPr lang="en-US" sz="2500" b="1" dirty="0" smtClean="0"/>
            <a:t>6</a:t>
          </a:r>
          <a:endParaRPr lang="en-IN" sz="2500" b="1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4323</cdr:x>
      <cdr:y>0.42539</cdr:y>
    </cdr:from>
    <cdr:to>
      <cdr:x>0.61136</cdr:x>
      <cdr:y>0.57921</cdr:y>
    </cdr:to>
    <cdr:sp macro="" textlink="">
      <cdr:nvSpPr>
        <cdr:cNvPr id="2" name="TextBox 52"/>
        <cdr:cNvSpPr txBox="1"/>
      </cdr:nvSpPr>
      <cdr:spPr>
        <a:xfrm xmlns:a="http://schemas.openxmlformats.org/drawingml/2006/main">
          <a:off x="1800518" y="2085382"/>
          <a:ext cx="1406604" cy="75405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91440" tIns="45720" rIns="91440" bIns="45720" rtlCol="0" anchor="t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b="1" dirty="0"/>
            <a:t>TOTAL TASKS</a:t>
          </a:r>
        </a:p>
        <a:p xmlns:a="http://schemas.openxmlformats.org/drawingml/2006/main">
          <a:pPr algn="ctr"/>
          <a:r>
            <a:rPr lang="en-US" sz="2500" b="1" dirty="0" smtClean="0"/>
            <a:t>04</a:t>
          </a:r>
          <a:endParaRPr lang="en-IN" sz="2500" b="1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7164</cdr:x>
      <cdr:y>0.50103</cdr:y>
    </cdr:from>
    <cdr:to>
      <cdr:x>0.63977</cdr:x>
      <cdr:y>0.65485</cdr:y>
    </cdr:to>
    <cdr:sp macro="" textlink="">
      <cdr:nvSpPr>
        <cdr:cNvPr id="2" name="TextBox 52"/>
        <cdr:cNvSpPr txBox="1"/>
      </cdr:nvSpPr>
      <cdr:spPr>
        <a:xfrm xmlns:a="http://schemas.openxmlformats.org/drawingml/2006/main">
          <a:off x="1949559" y="2456178"/>
          <a:ext cx="1406604" cy="75405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91440" tIns="45720" rIns="91440" bIns="45720" rtlCol="0" anchor="t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b="1" dirty="0"/>
            <a:t>TOTAL TASKS</a:t>
          </a:r>
        </a:p>
        <a:p xmlns:a="http://schemas.openxmlformats.org/drawingml/2006/main">
          <a:pPr algn="ctr"/>
          <a:r>
            <a:rPr lang="en-US" sz="2500" b="1" dirty="0" smtClean="0"/>
            <a:t>05</a:t>
          </a:r>
          <a:endParaRPr lang="en-IN" sz="2500" b="1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30591</cdr:x>
      <cdr:y>0.40101</cdr:y>
    </cdr:from>
    <cdr:to>
      <cdr:x>0.6508</cdr:x>
      <cdr:y>0.60356</cdr:y>
    </cdr:to>
    <cdr:sp macro="" textlink="">
      <cdr:nvSpPr>
        <cdr:cNvPr id="2" name="TextBox 52"/>
        <cdr:cNvSpPr txBox="1"/>
      </cdr:nvSpPr>
      <cdr:spPr>
        <a:xfrm xmlns:a="http://schemas.openxmlformats.org/drawingml/2006/main">
          <a:off x="1044844" y="1828035"/>
          <a:ext cx="1178004" cy="9233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b="1" dirty="0" smtClean="0"/>
            <a:t>TOTAL TASKS</a:t>
          </a:r>
        </a:p>
        <a:p xmlns:a="http://schemas.openxmlformats.org/drawingml/2006/main">
          <a:pPr algn="ctr"/>
          <a:r>
            <a:rPr lang="en-US" b="1" dirty="0" smtClean="0"/>
            <a:t>10</a:t>
          </a:r>
          <a:endParaRPr lang="en-IN" b="1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3214</cdr:x>
      <cdr:y>0.45135</cdr:y>
    </cdr:from>
    <cdr:to>
      <cdr:x>0.69578</cdr:x>
      <cdr:y>0.60571</cdr:y>
    </cdr:to>
    <cdr:sp macro="" textlink="">
      <cdr:nvSpPr>
        <cdr:cNvPr id="2" name="TextBox 83"/>
        <cdr:cNvSpPr txBox="1"/>
      </cdr:nvSpPr>
      <cdr:spPr>
        <a:xfrm xmlns:a="http://schemas.openxmlformats.org/drawingml/2006/main">
          <a:off x="1207567" y="2204912"/>
          <a:ext cx="1406604" cy="75405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b="1" dirty="0" smtClean="0"/>
            <a:t>TOTAL TASKS</a:t>
          </a:r>
        </a:p>
        <a:p xmlns:a="http://schemas.openxmlformats.org/drawingml/2006/main">
          <a:pPr algn="ctr"/>
          <a:r>
            <a:rPr lang="en-US" sz="2500" b="1" dirty="0" smtClean="0"/>
            <a:t>4</a:t>
          </a:r>
          <a:endParaRPr lang="en-IN" sz="250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91B065-E607-441D-BF0B-FB045B3127BF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57AFC0-F55C-45D9-A845-532FED13179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467202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C63CF9-D218-4BE3-9AE9-3D725AF3F5C6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B8F8D1-D122-43F5-B7AF-EB2EF497A07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41806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changepondonweb" TargetMode="External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12" Type="http://schemas.openxmlformats.org/officeDocument/2006/relationships/hyperlink" Target="https://plus.google.com/+ChangepondTechnologiesLtd" TargetMode="External"/><Relationship Id="rId17" Type="http://schemas.openxmlformats.org/officeDocument/2006/relationships/image" Target="../media/image15.png"/><Relationship Id="rId2" Type="http://schemas.openxmlformats.org/officeDocument/2006/relationships/image" Target="../media/image5.png"/><Relationship Id="rId16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youtube.com/user/changepond" TargetMode="External"/><Relationship Id="rId11" Type="http://schemas.openxmlformats.org/officeDocument/2006/relationships/image" Target="../media/image10.png"/><Relationship Id="rId5" Type="http://schemas.openxmlformats.org/officeDocument/2006/relationships/image" Target="../media/image7.png"/><Relationship Id="rId15" Type="http://schemas.openxmlformats.org/officeDocument/2006/relationships/image" Target="../media/image13.png"/><Relationship Id="rId10" Type="http://schemas.openxmlformats.org/officeDocument/2006/relationships/hyperlink" Target="https://www.linkedin.com/company/changepond" TargetMode="External"/><Relationship Id="rId4" Type="http://schemas.openxmlformats.org/officeDocument/2006/relationships/hyperlink" Target="https://www.facebook.com/pages/Changepond-Technologies-priavate-limited" TargetMode="External"/><Relationship Id="rId9" Type="http://schemas.openxmlformats.org/officeDocument/2006/relationships/image" Target="../media/image9.png"/><Relationship Id="rId1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64770-B3F2-4902-83BC-F19789EF20D9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69FC4-A39F-4629-968C-2A9B9DEA71F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92721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64770-B3F2-4902-83BC-F19789EF20D9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69FC4-A39F-4629-968C-2A9B9DEA71F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28203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64770-B3F2-4902-83BC-F19789EF20D9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69FC4-A39F-4629-968C-2A9B9DEA71F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914343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Slide 1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0330" y="477080"/>
            <a:ext cx="7131327" cy="5181600"/>
          </a:xfrm>
          <a:prstGeom prst="rect">
            <a:avLst/>
          </a:prstGeom>
        </p:spPr>
      </p:pic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05794" y="6448152"/>
            <a:ext cx="5648445" cy="221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224" y="0"/>
            <a:ext cx="5781229" cy="4327663"/>
          </a:xfrm>
          <a:prstGeom prst="rect">
            <a:avLst/>
          </a:prstGeom>
        </p:spPr>
      </p:pic>
      <p:sp>
        <p:nvSpPr>
          <p:cNvPr id="12" name="Retângulo 37">
            <a:extLst>
              <a:ext uri="{FF2B5EF4-FFF2-40B4-BE49-F238E27FC236}">
                <a16:creationId xmlns="" xmlns:a16="http://schemas.microsoft.com/office/drawing/2014/main" id="{16A31662-FB7B-4804-8C49-DCD9CFAAF8FE}"/>
              </a:ext>
            </a:extLst>
          </p:cNvPr>
          <p:cNvSpPr/>
          <p:nvPr/>
        </p:nvSpPr>
        <p:spPr>
          <a:xfrm>
            <a:off x="105510" y="6350633"/>
            <a:ext cx="4536828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600" b="1" kern="0" dirty="0">
                <a:solidFill>
                  <a:prstClr val="white"/>
                </a:solidFill>
                <a:cs typeface="Calibri" panose="020F0502020204030204" pitchFamily="34" charset="0"/>
              </a:rPr>
              <a:t>Agile | Make Digital Real | Smart Automate</a:t>
            </a:r>
            <a:endParaRPr lang="en-US" sz="1600" kern="0" dirty="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B2714B4E-8CA2-4BFB-BCAA-5AEA052862C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9263" y="344555"/>
            <a:ext cx="2247352" cy="22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772756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1325563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="" xmlns:a16="http://schemas.microsoft.com/office/drawing/2014/main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2023 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400133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="" xmlns:a16="http://schemas.microsoft.com/office/drawing/2014/main" id="{02699B51-FA02-4FDF-AE74-A1E10D8E54F8}"/>
              </a:ext>
            </a:extLst>
          </p:cNvPr>
          <p:cNvSpPr/>
          <p:nvPr/>
        </p:nvSpPr>
        <p:spPr>
          <a:xfrm>
            <a:off x="0" y="-19050"/>
            <a:ext cx="6896100" cy="68770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0" h="21600" extrusionOk="0">
                <a:moveTo>
                  <a:pt x="19674" y="13863"/>
                </a:moveTo>
                <a:cubicBezTo>
                  <a:pt x="18894" y="13386"/>
                  <a:pt x="17938" y="13367"/>
                  <a:pt x="17095" y="13671"/>
                </a:cubicBezTo>
                <a:cubicBezTo>
                  <a:pt x="16251" y="13974"/>
                  <a:pt x="15509" y="14575"/>
                  <a:pt x="14872" y="15276"/>
                </a:cubicBezTo>
                <a:cubicBezTo>
                  <a:pt x="14503" y="15683"/>
                  <a:pt x="14156" y="16133"/>
                  <a:pt x="13706" y="16415"/>
                </a:cubicBezTo>
                <a:cubicBezTo>
                  <a:pt x="13094" y="16798"/>
                  <a:pt x="12319" y="16821"/>
                  <a:pt x="11691" y="16473"/>
                </a:cubicBezTo>
                <a:cubicBezTo>
                  <a:pt x="11064" y="16125"/>
                  <a:pt x="10600" y="15416"/>
                  <a:pt x="10485" y="14631"/>
                </a:cubicBezTo>
                <a:cubicBezTo>
                  <a:pt x="10374" y="13866"/>
                  <a:pt x="10578" y="13092"/>
                  <a:pt x="10637" y="12320"/>
                </a:cubicBezTo>
                <a:cubicBezTo>
                  <a:pt x="10818" y="9919"/>
                  <a:pt x="9595" y="7669"/>
                  <a:pt x="8173" y="5887"/>
                </a:cubicBezTo>
                <a:cubicBezTo>
                  <a:pt x="5976" y="3132"/>
                  <a:pt x="3144" y="990"/>
                  <a:pt x="0" y="0"/>
                </a:cubicBezTo>
                <a:lnTo>
                  <a:pt x="0" y="21600"/>
                </a:lnTo>
                <a:lnTo>
                  <a:pt x="20743" y="21600"/>
                </a:lnTo>
                <a:cubicBezTo>
                  <a:pt x="20952" y="21249"/>
                  <a:pt x="21129" y="20876"/>
                  <a:pt x="21262" y="20473"/>
                </a:cubicBezTo>
                <a:cubicBezTo>
                  <a:pt x="21541" y="19624"/>
                  <a:pt x="21600" y="18697"/>
                  <a:pt x="21537" y="17793"/>
                </a:cubicBezTo>
                <a:cubicBezTo>
                  <a:pt x="21430" y="16243"/>
                  <a:pt x="20874" y="14598"/>
                  <a:pt x="19674" y="13863"/>
                </a:cubicBezTo>
                <a:close/>
              </a:path>
            </a:pathLst>
          </a:custGeom>
          <a:gradFill flip="none" rotWithShape="1">
            <a:gsLst>
              <a:gs pos="0">
                <a:srgbClr val="34068F">
                  <a:shade val="30000"/>
                  <a:satMod val="115000"/>
                </a:srgbClr>
              </a:gs>
              <a:gs pos="50000">
                <a:srgbClr val="34068F">
                  <a:shade val="67500"/>
                  <a:satMod val="115000"/>
                </a:srgbClr>
              </a:gs>
              <a:gs pos="100000">
                <a:srgbClr val="34068F">
                  <a:shade val="100000"/>
                  <a:satMod val="115000"/>
                </a:srgbClr>
              </a:gs>
            </a:gsLst>
            <a:lin ang="0" scaled="1"/>
            <a:tileRect/>
          </a:gradFill>
          <a:ln w="12700">
            <a:miter lim="400000"/>
          </a:ln>
          <a:effectLst/>
        </p:spPr>
        <p:txBody>
          <a:bodyPr lIns="38100" tIns="38100" rIns="38100" bIns="38100" anchor="ctr"/>
          <a:lstStyle/>
          <a:p>
            <a:pPr>
              <a:defRPr/>
            </a:pPr>
            <a:endParaRPr sz="30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9" b="44001"/>
          <a:stretch>
            <a:fillRect/>
          </a:stretch>
        </p:blipFill>
        <p:spPr>
          <a:xfrm>
            <a:off x="274422" y="3367893"/>
            <a:ext cx="2647386" cy="204424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274422" y="6468675"/>
            <a:ext cx="3505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white"/>
                </a:solidFill>
              </a:rPr>
              <a:t>Copyright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© 2023 Changepond. All rights reserved.</a:t>
            </a:r>
            <a:r>
              <a:rPr lang="en-US" sz="1200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35" name="Picture 4" descr="C:\Users\sanjeevkumar.s\Desktop\images\2\Asset 5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373314" y="221264"/>
            <a:ext cx="9856786" cy="4261616"/>
          </a:xfrm>
          <a:prstGeom prst="rect">
            <a:avLst/>
          </a:prstGeom>
          <a:noFill/>
        </p:spPr>
      </p:pic>
      <p:pic>
        <p:nvPicPr>
          <p:cNvPr id="6" name="Picture 10" descr="C:\Users\sanjeevkumar.s\Desktop\Extra work ML\ML\3\Predictive analytics\facebook-logo-button.png">
            <a:hlinkClick r:id="rId4" tooltip="Facebook-Changepond"/>
          </p:cNvPr>
          <p:cNvPicPr>
            <a:picLocks noChangeAspect="1" noChangeArrowheads="1"/>
          </p:cNvPicPr>
          <p:nvPr/>
        </p:nvPicPr>
        <p:blipFill>
          <a:blip r:embed="rId5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183" y="3737228"/>
            <a:ext cx="365760" cy="365760"/>
          </a:xfrm>
          <a:prstGeom prst="rect">
            <a:avLst/>
          </a:prstGeom>
          <a:noFill/>
        </p:spPr>
      </p:pic>
      <p:pic>
        <p:nvPicPr>
          <p:cNvPr id="7" name="Picture 12" descr="C:\Users\sanjeevkumar.s\Desktop\Extra work ML\ML\3\Predictive analytics\youtube-symbol.png">
            <a:hlinkClick r:id="rId6" tooltip="Youtube-Changepond"/>
          </p:cNvPr>
          <p:cNvPicPr>
            <a:picLocks noChangeAspect="1" noChangeArrowheads="1"/>
          </p:cNvPicPr>
          <p:nvPr/>
        </p:nvPicPr>
        <p:blipFill>
          <a:blip r:embed="rId7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728" y="3737228"/>
            <a:ext cx="365760" cy="365760"/>
          </a:xfrm>
          <a:prstGeom prst="rect">
            <a:avLst/>
          </a:prstGeom>
          <a:noFill/>
        </p:spPr>
      </p:pic>
      <p:pic>
        <p:nvPicPr>
          <p:cNvPr id="8" name="Picture 13" descr="C:\Users\sanjeevkumar.s\Desktop\Extra work ML\ML\3\Predictive analytics\twitter-logo-button.png">
            <a:hlinkClick r:id="rId8" tooltip="Twitter-Changepond"/>
          </p:cNvPr>
          <p:cNvPicPr>
            <a:picLocks noChangeAspect="1" noChangeArrowheads="1"/>
          </p:cNvPicPr>
          <p:nvPr/>
        </p:nvPicPr>
        <p:blipFill>
          <a:blip r:embed="rId9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5273" y="3737228"/>
            <a:ext cx="365760" cy="365760"/>
          </a:xfrm>
          <a:prstGeom prst="rect">
            <a:avLst/>
          </a:prstGeom>
          <a:noFill/>
        </p:spPr>
      </p:pic>
      <p:pic>
        <p:nvPicPr>
          <p:cNvPr id="9" name="Picture 14" descr="C:\Users\sanjeevkumar.s\Desktop\Extra work ML\ML\3\Predictive analytics\linkedin-button.png">
            <a:hlinkClick r:id="rId10" tooltip="Linkedin-Changepond"/>
          </p:cNvPr>
          <p:cNvPicPr>
            <a:picLocks noChangeAspect="1" noChangeArrowheads="1"/>
          </p:cNvPicPr>
          <p:nvPr/>
        </p:nvPicPr>
        <p:blipFill>
          <a:blip r:embed="rId11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1818" y="3737228"/>
            <a:ext cx="365760" cy="365760"/>
          </a:xfrm>
          <a:prstGeom prst="rect">
            <a:avLst/>
          </a:prstGeom>
          <a:noFill/>
        </p:spPr>
      </p:pic>
      <p:pic>
        <p:nvPicPr>
          <p:cNvPr id="10" name="Picture 3" descr="C:\Users\sanjeevkumar.s\Desktop\Extra work ML\ML\3\Predictive analytics\google-plus-social-logotype.pn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98364" y="3737228"/>
            <a:ext cx="365760" cy="365760"/>
          </a:xfrm>
          <a:prstGeom prst="rect">
            <a:avLst/>
          </a:prstGeom>
          <a:noFill/>
        </p:spPr>
      </p:pic>
      <p:pic>
        <p:nvPicPr>
          <p:cNvPr id="11" name="Picture 2" descr="C:\Users\sanjeevkumar.s\Desktop\Sd\sd2\ep.png"/>
          <p:cNvPicPr>
            <a:picLocks noChangeAspect="1" noChangeArrowheads="1"/>
          </p:cNvPicPr>
          <p:nvPr/>
        </p:nvPicPr>
        <p:blipFill>
          <a:blip r:embed="rId14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4857" y="5929720"/>
            <a:ext cx="457200" cy="421640"/>
          </a:xfrm>
          <a:prstGeom prst="rect">
            <a:avLst/>
          </a:prstGeom>
          <a:noFill/>
        </p:spPr>
      </p:pic>
      <p:pic>
        <p:nvPicPr>
          <p:cNvPr id="13" name="Picture 3" descr="C:\Users\sanjeevkumar.s\Desktop\Sd\sd2\financial-icon.png"/>
          <p:cNvPicPr>
            <a:picLocks noChangeAspect="1" noChangeArrowheads="1"/>
          </p:cNvPicPr>
          <p:nvPr/>
        </p:nvPicPr>
        <p:blipFill>
          <a:blip r:embed="rId15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7881" y="5911940"/>
            <a:ext cx="457200" cy="457200"/>
          </a:xfrm>
          <a:prstGeom prst="rect">
            <a:avLst/>
          </a:prstGeom>
          <a:noFill/>
        </p:spPr>
      </p:pic>
      <p:pic>
        <p:nvPicPr>
          <p:cNvPr id="14" name="Picture 4" descr="C:\Users\sanjeevkumar.s\Desktop\Sd\sd2\health-care.png"/>
          <p:cNvPicPr>
            <a:picLocks noChangeAspect="1" noChangeArrowheads="1"/>
          </p:cNvPicPr>
          <p:nvPr/>
        </p:nvPicPr>
        <p:blipFill>
          <a:blip r:embed="rId16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0905" y="5911940"/>
            <a:ext cx="457200" cy="457200"/>
          </a:xfrm>
          <a:prstGeom prst="rect">
            <a:avLst/>
          </a:prstGeom>
          <a:noFill/>
        </p:spPr>
      </p:pic>
      <p:pic>
        <p:nvPicPr>
          <p:cNvPr id="15" name="Picture 5" descr="C:\Users\sanjeevkumar.s\Desktop\Sd\sd2\manufUtil.png"/>
          <p:cNvPicPr>
            <a:picLocks noChangeAspect="1" noChangeArrowheads="1"/>
          </p:cNvPicPr>
          <p:nvPr/>
        </p:nvPicPr>
        <p:blipFill>
          <a:blip r:embed="rId17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3929" y="5911940"/>
            <a:ext cx="457200" cy="457200"/>
          </a:xfrm>
          <a:prstGeom prst="rect">
            <a:avLst/>
          </a:prstGeom>
          <a:noFill/>
        </p:spPr>
      </p:pic>
      <p:pic>
        <p:nvPicPr>
          <p:cNvPr id="16" name="Picture 2" descr="Image result for scm icon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-21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36954" y="5911940"/>
            <a:ext cx="457200" cy="457200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7234226" y="6449996"/>
            <a:ext cx="4780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>
                <a:solidFill>
                  <a:srgbClr val="002060"/>
                </a:solidFill>
              </a:rPr>
              <a:t>Experience Trust &amp; Lasting Solution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261811" y="2422359"/>
            <a:ext cx="347832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6000" b="1" i="1" dirty="0">
                <a:solidFill>
                  <a:srgbClr val="002060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908293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64770-B3F2-4902-83BC-F19789EF20D9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69FC4-A39F-4629-968C-2A9B9DEA71F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88669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64770-B3F2-4902-83BC-F19789EF20D9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69FC4-A39F-4629-968C-2A9B9DEA71F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750129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64770-B3F2-4902-83BC-F19789EF20D9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69FC4-A39F-4629-968C-2A9B9DEA71F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263083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64770-B3F2-4902-83BC-F19789EF20D9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69FC4-A39F-4629-968C-2A9B9DEA71F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25024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64770-B3F2-4902-83BC-F19789EF20D9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69FC4-A39F-4629-968C-2A9B9DEA71F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78459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64770-B3F2-4902-83BC-F19789EF20D9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69FC4-A39F-4629-968C-2A9B9DEA71F9}" type="slidenum">
              <a:rPr lang="en-IN" smtClean="0"/>
              <a:t>‹#›</a:t>
            </a:fld>
            <a:endParaRPr lang="en-IN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3548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64770-B3F2-4902-83BC-F19789EF20D9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69FC4-A39F-4629-968C-2A9B9DEA71F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862888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64770-B3F2-4902-83BC-F19789EF20D9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69FC4-A39F-4629-968C-2A9B9DEA71F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202704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464770-B3F2-4902-83BC-F19789EF20D9}" type="datetimeFigureOut">
              <a:rPr lang="en-IN" smtClean="0"/>
              <a:t>09-1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E69FC4-A39F-4629-968C-2A9B9DEA71F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81759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9328" y="5509554"/>
            <a:ext cx="7844760" cy="582153"/>
          </a:xfrm>
        </p:spPr>
        <p:txBody>
          <a:bodyPr/>
          <a:lstStyle/>
          <a:p>
            <a:r>
              <a:rPr lang="en-US" dirty="0" smtClean="0"/>
              <a:t>AVOLTA (DUFRY) </a:t>
            </a:r>
            <a:r>
              <a:rPr lang="en-US" dirty="0"/>
              <a:t>BI-WEEKLY REVIEW</a:t>
            </a:r>
            <a:endParaRPr lang="en-IN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8216721" y="6091707"/>
            <a:ext cx="3747365" cy="44048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vert="horz"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800" b="0" dirty="0" smtClean="0"/>
              <a:t>26 October, </a:t>
            </a:r>
            <a:r>
              <a:rPr lang="en-IN" sz="1800" b="0" dirty="0"/>
              <a:t>2023  – </a:t>
            </a:r>
            <a:r>
              <a:rPr lang="en-IN" sz="1800" b="0" dirty="0" smtClean="0"/>
              <a:t>07 November, </a:t>
            </a:r>
            <a:r>
              <a:rPr lang="en-IN" sz="1800" b="0" dirty="0"/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30235194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4116798"/>
              </p:ext>
            </p:extLst>
          </p:nvPr>
        </p:nvGraphicFramePr>
        <p:xfrm>
          <a:off x="969820" y="817420"/>
          <a:ext cx="10141527" cy="55141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8201"/>
                <a:gridCol w="4436921"/>
                <a:gridCol w="2376921"/>
                <a:gridCol w="1769484"/>
              </a:tblGrid>
              <a:tr h="6320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ITLE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SSIGNED TO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ATE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</a:tr>
              <a:tr h="9481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5988</a:t>
                      </a:r>
                      <a:endParaRPr lang="en-US" sz="1400" u="non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</a:rPr>
                        <a:t>[BE] – Introduce a dedicated user role for the Financial Operations Viewer in B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</a:rPr>
                        <a:t>Ashish Aggarwal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</a:rPr>
                        <a:t>Done Developmen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</a:tr>
              <a:tr h="108958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1981</a:t>
                      </a:r>
                      <a:endParaRPr lang="en-US" sz="1400" u="non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</a:rPr>
                        <a:t>[BE] – Introduce a dedicated user role for the Financial Operations Manager in B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smtClean="0">
                          <a:effectLst/>
                          <a:latin typeface="Calibri" panose="020F0502020204030204" pitchFamily="34" charset="0"/>
                        </a:rPr>
                        <a:t>Ashish Aggarwal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dirty="0">
                          <a:effectLst/>
                          <a:latin typeface="Calibri" panose="020F0502020204030204" pitchFamily="34" charset="0"/>
                        </a:rPr>
                        <a:t>Done Development</a:t>
                      </a:r>
                    </a:p>
                  </a:txBody>
                  <a:tcPr marL="9525" marR="9525" marT="9525" anchor="ctr"/>
                </a:tc>
              </a:tr>
              <a:tr h="9481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0469</a:t>
                      </a:r>
                      <a:endParaRPr lang="en-US" sz="1400" u="non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</a:rPr>
                        <a:t>[DB] Periodically cleanup obsolete promo</a:t>
                      </a:r>
                      <a:r>
                        <a:rPr lang="en-US" sz="1400" baseline="0" dirty="0" smtClean="0">
                          <a:effectLst/>
                          <a:latin typeface="Calibri" panose="020F0502020204030204" pitchFamily="34" charset="0"/>
                        </a:rPr>
                        <a:t> overlap dat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smtClean="0">
                          <a:effectLst/>
                          <a:latin typeface="Calibri" panose="020F0502020204030204" pitchFamily="34" charset="0"/>
                        </a:rPr>
                        <a:t>Ashish Aggarwal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</a:rPr>
                        <a:t>In Progres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</a:tr>
              <a:tr h="9481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8113</a:t>
                      </a:r>
                      <a:endParaRPr lang="en-US" sz="1400" u="non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[OA] Make the Custom</a:t>
                      </a:r>
                      <a:r>
                        <a:rPr lang="en-US" sz="1400" u="non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Anonymous </a:t>
                      </a:r>
                      <a:r>
                        <a:rPr lang="en-US" sz="1400" u="none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uth</a:t>
                      </a:r>
                      <a:r>
                        <a:rPr lang="en-US" sz="1400" u="non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Filter work also in </a:t>
                      </a:r>
                      <a:r>
                        <a:rPr lang="en-US" sz="1400" u="none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pap</a:t>
                      </a:r>
                      <a:r>
                        <a:rPr lang="en-US" sz="1400" u="non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module</a:t>
                      </a:r>
                      <a:endParaRPr lang="en-US" sz="1400" u="non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</a:rPr>
                        <a:t>Ashish Aggarwal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</a:rPr>
                        <a:t>To Do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</a:tr>
              <a:tr h="9481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7379</a:t>
                      </a:r>
                      <a:endParaRPr lang="en-US" sz="1400" u="non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ke the Custom Anonymous </a:t>
                      </a:r>
                      <a:r>
                        <a:rPr lang="en-US" sz="1400" u="non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uth</a:t>
                      </a:r>
                      <a:r>
                        <a:rPr lang="en-US" sz="1400" u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Filter work also in </a:t>
                      </a:r>
                      <a:r>
                        <a:rPr lang="en-US" sz="1400" u="non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pap</a:t>
                      </a:r>
                      <a:r>
                        <a:rPr lang="en-US" sz="1400" u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module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</a:rPr>
                        <a:t>Ashish Aggarwal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</a:rPr>
                        <a:t>Ready</a:t>
                      </a:r>
                      <a:r>
                        <a:rPr lang="en-US" sz="1400" baseline="0" dirty="0" smtClean="0">
                          <a:effectLst/>
                          <a:latin typeface="Calibri" panose="020F0502020204030204" pitchFamily="34" charset="0"/>
                        </a:rPr>
                        <a:t> for Q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190665" y="180109"/>
            <a:ext cx="431206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srgbClr val="F22C2C"/>
                </a:solidFill>
                <a:ea typeface="Lato" panose="020F0502020204030203" pitchFamily="34" charset="0"/>
                <a:cs typeface="Lato" panose="020F0502020204030203" pitchFamily="34" charset="0"/>
              </a:rPr>
              <a:t>ASHISH  TASKS</a:t>
            </a:r>
            <a:endParaRPr lang="en-IN" sz="2800" b="1" dirty="0">
              <a:solidFill>
                <a:srgbClr val="F22C2C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9660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83A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610948" y="6535207"/>
            <a:ext cx="24288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IN" sz="11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Changepond Technologies. Confidentia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34470" y="342925"/>
            <a:ext cx="55467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Lato" panose="020F0502020204030203" pitchFamily="34" charset="0"/>
                <a:cs typeface="Lato" panose="020F0502020204030203" pitchFamily="34" charset="0"/>
              </a:rPr>
              <a:t>Frontend (Angular) - Stream</a:t>
            </a:r>
            <a:endParaRPr lang="en-IN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30536" y="1197667"/>
            <a:ext cx="6039203" cy="1685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IN" sz="2300" b="1" u="sng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Technical </a:t>
            </a:r>
            <a:r>
              <a:rPr lang="en-IN" sz="2300" b="1" u="sng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Manager + Product Owner </a:t>
            </a:r>
            <a:r>
              <a:rPr lang="en-IN" sz="2300" b="1" u="sng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(</a:t>
            </a:r>
            <a:r>
              <a:rPr lang="en-IN" sz="2300" b="1" u="sng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DUFRY)</a:t>
            </a:r>
            <a:r>
              <a:rPr lang="en-IN" sz="2300" b="1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300" dirty="0" err="1">
                <a:solidFill>
                  <a:schemeClr val="bg1"/>
                </a:solidFill>
                <a:ea typeface="Lato"/>
                <a:cs typeface="Lato"/>
              </a:rPr>
              <a:t>Hernani</a:t>
            </a:r>
            <a:r>
              <a:rPr lang="en-IN" sz="2300" dirty="0">
                <a:solidFill>
                  <a:schemeClr val="bg1"/>
                </a:solidFill>
                <a:ea typeface="Lato"/>
                <a:cs typeface="Lato"/>
              </a:rPr>
              <a:t> </a:t>
            </a:r>
            <a:r>
              <a:rPr lang="en-IN" sz="2300" dirty="0" err="1">
                <a:solidFill>
                  <a:schemeClr val="bg1"/>
                </a:solidFill>
                <a:ea typeface="Lato"/>
                <a:cs typeface="Lato"/>
              </a:rPr>
              <a:t>Goncalves</a:t>
            </a:r>
            <a:r>
              <a:rPr lang="en-IN" sz="2300" dirty="0">
                <a:solidFill>
                  <a:schemeClr val="bg1"/>
                </a:solidFill>
                <a:ea typeface="Lato"/>
                <a:cs typeface="Lato"/>
              </a:rPr>
              <a:t> – CMA </a:t>
            </a:r>
            <a:endParaRPr lang="en-IN" sz="2300" dirty="0" smtClean="0">
              <a:solidFill>
                <a:schemeClr val="bg1"/>
              </a:solidFill>
              <a:ea typeface="Lato"/>
              <a:cs typeface="Lato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300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Claudia </a:t>
            </a:r>
            <a:r>
              <a:rPr lang="en-IN" sz="2300" dirty="0" err="1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Istrate</a:t>
            </a:r>
            <a:r>
              <a:rPr lang="en-IN" sz="2300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 – Phoenix</a:t>
            </a:r>
            <a:endParaRPr lang="en-IN" sz="2300" dirty="0">
              <a:solidFill>
                <a:schemeClr val="bg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536" y="4775293"/>
            <a:ext cx="4627263" cy="1685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IN" sz="2300" b="1" u="sng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Changepond </a:t>
            </a:r>
            <a:r>
              <a:rPr lang="en-IN" sz="2300" b="1" u="sng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Team: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300" dirty="0">
                <a:solidFill>
                  <a:schemeClr val="bg1"/>
                </a:solidFill>
                <a:ea typeface="Lato"/>
                <a:cs typeface="Lato"/>
              </a:rPr>
              <a:t>Vijay Kumar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300" dirty="0" err="1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Ballampalli</a:t>
            </a:r>
            <a:r>
              <a:rPr lang="en-US" sz="23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n-US" sz="2300" dirty="0" err="1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Sreehari</a:t>
            </a:r>
            <a:r>
              <a:rPr lang="en-US" sz="23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n-US" sz="2300" dirty="0" err="1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Tirupalaiah</a:t>
            </a:r>
            <a:endParaRPr lang="en-IN" sz="23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30536" y="3023898"/>
            <a:ext cx="6039203" cy="1685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IN" sz="2300" b="1" u="sng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Project Manager</a:t>
            </a:r>
            <a:r>
              <a:rPr lang="en-IN" sz="2300" b="1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300" dirty="0" err="1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Loana</a:t>
            </a:r>
            <a:r>
              <a:rPr lang="en-IN" sz="2300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n-IN" sz="2300" dirty="0" err="1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Vasile</a:t>
            </a:r>
            <a:r>
              <a:rPr lang="en-IN" sz="23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 – Shop Management </a:t>
            </a:r>
            <a:r>
              <a:rPr lang="en-IN" sz="2300" dirty="0">
                <a:solidFill>
                  <a:schemeClr val="bg1"/>
                </a:solidFill>
                <a:ea typeface="Lato"/>
                <a:cs typeface="Lato"/>
              </a:rPr>
              <a:t>(Mind IT)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300" dirty="0" err="1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Madalina</a:t>
            </a:r>
            <a:r>
              <a:rPr lang="en-IN" sz="23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n-IN" sz="2300" dirty="0" err="1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Pana</a:t>
            </a:r>
            <a:r>
              <a:rPr lang="en-IN" sz="23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 - Phoenix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5929" y="38159"/>
            <a:ext cx="2325207" cy="2325207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266568" y="943537"/>
            <a:ext cx="914400" cy="45719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921006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0" y="0"/>
            <a:ext cx="719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 smtClean="0">
                <a:solidFill>
                  <a:srgbClr val="F22C2C"/>
                </a:solidFill>
                <a:ea typeface="Lato" panose="020F0502020204030203" pitchFamily="34" charset="0"/>
                <a:cs typeface="Lato" panose="020F0502020204030203" pitchFamily="34" charset="0"/>
              </a:rPr>
              <a:t>FRONTEND DASHBOARD – VIJAY KUMAR</a:t>
            </a:r>
            <a:endParaRPr lang="en-IN" sz="2800" b="1" dirty="0">
              <a:solidFill>
                <a:srgbClr val="F22C2C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389966" y="522615"/>
            <a:ext cx="10529046" cy="566835"/>
            <a:chOff x="376519" y="631371"/>
            <a:chExt cx="9558348" cy="566835"/>
          </a:xfrm>
        </p:grpSpPr>
        <p:grpSp>
          <p:nvGrpSpPr>
            <p:cNvPr id="12" name="Group 11"/>
            <p:cNvGrpSpPr/>
            <p:nvPr/>
          </p:nvGrpSpPr>
          <p:grpSpPr>
            <a:xfrm>
              <a:off x="376519" y="637790"/>
              <a:ext cx="9558348" cy="560416"/>
              <a:chOff x="275333" y="307744"/>
              <a:chExt cx="7064520" cy="560416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275333" y="314162"/>
                <a:ext cx="2603923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Project Name: </a:t>
                </a:r>
                <a:r>
                  <a:rPr lang="en-IN" b="1" dirty="0" smtClean="0">
                    <a:solidFill>
                      <a:srgbClr val="00B0F0"/>
                    </a:solidFill>
                  </a:rPr>
                  <a:t>Shop Management</a:t>
                </a:r>
                <a:endParaRPr lang="en-IN" sz="2000" b="1" dirty="0"/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6690843" y="308592"/>
                <a:ext cx="649010" cy="5062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RAG:</a:t>
                </a:r>
                <a:endParaRPr lang="en-IN" sz="2000" b="1" dirty="0"/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4655466" y="307744"/>
                <a:ext cx="2154556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Duration:  </a:t>
                </a:r>
                <a:r>
                  <a:rPr lang="en-IN" sz="2000" b="1" dirty="0" smtClean="0">
                    <a:solidFill>
                      <a:srgbClr val="00B0F0"/>
                    </a:solidFill>
                  </a:rPr>
                  <a:t>31 Oct - 13 Nov</a:t>
                </a:r>
                <a:endParaRPr lang="en-IN" sz="2000" b="1" dirty="0"/>
              </a:p>
            </p:txBody>
          </p:sp>
        </p:grpSp>
        <p:sp>
          <p:nvSpPr>
            <p:cNvPr id="17" name="TextBox 16"/>
            <p:cNvSpPr txBox="1"/>
            <p:nvPr/>
          </p:nvSpPr>
          <p:spPr>
            <a:xfrm>
              <a:off x="3602045" y="631371"/>
              <a:ext cx="292329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IN" sz="2000" b="1" dirty="0" smtClean="0"/>
                <a:t>Current Sprint:  </a:t>
              </a:r>
              <a:r>
                <a:rPr lang="en-IN" sz="2000" b="1" dirty="0" smtClean="0">
                  <a:solidFill>
                    <a:srgbClr val="00B0F0"/>
                  </a:solidFill>
                </a:rPr>
                <a:t>Sprint 22</a:t>
              </a:r>
              <a:endParaRPr lang="en-IN" sz="2000" b="1" dirty="0"/>
            </a:p>
          </p:txBody>
        </p:sp>
      </p:grpSp>
      <p:sp>
        <p:nvSpPr>
          <p:cNvPr id="21" name="Oval 20"/>
          <p:cNvSpPr/>
          <p:nvPr/>
        </p:nvSpPr>
        <p:spPr>
          <a:xfrm>
            <a:off x="10878562" y="639430"/>
            <a:ext cx="455454" cy="420173"/>
          </a:xfrm>
          <a:prstGeom prst="ellipse">
            <a:avLst/>
          </a:prstGeom>
          <a:solidFill>
            <a:srgbClr val="23882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1622155170"/>
              </p:ext>
            </p:extLst>
          </p:nvPr>
        </p:nvGraphicFramePr>
        <p:xfrm>
          <a:off x="1174645" y="1270233"/>
          <a:ext cx="3415553" cy="4927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25" name="Group 24"/>
          <p:cNvGrpSpPr/>
          <p:nvPr/>
        </p:nvGrpSpPr>
        <p:grpSpPr>
          <a:xfrm>
            <a:off x="5553144" y="1217301"/>
            <a:ext cx="5150030" cy="4951426"/>
            <a:chOff x="567408" y="1304480"/>
            <a:chExt cx="5206292" cy="6108520"/>
          </a:xfrm>
        </p:grpSpPr>
        <p:sp>
          <p:nvSpPr>
            <p:cNvPr id="27" name="Rectangle 26"/>
            <p:cNvSpPr/>
            <p:nvPr/>
          </p:nvSpPr>
          <p:spPr>
            <a:xfrm>
              <a:off x="631066" y="1365161"/>
              <a:ext cx="5142634" cy="60478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567408" y="1304480"/>
              <a:ext cx="5206291" cy="1706284"/>
              <a:chOff x="690522" y="1274135"/>
              <a:chExt cx="5206291" cy="1706284"/>
            </a:xfrm>
          </p:grpSpPr>
          <p:sp>
            <p:nvSpPr>
              <p:cNvPr id="29" name="TextBox 28"/>
              <p:cNvSpPr txBox="1"/>
              <p:nvPr/>
            </p:nvSpPr>
            <p:spPr>
              <a:xfrm>
                <a:off x="782293" y="1727407"/>
                <a:ext cx="5114520" cy="12530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dirty="0"/>
                  <a:t>Total Tasks Picked Up Changepond</a:t>
                </a:r>
                <a:r>
                  <a:rPr lang="en-US" sz="2000" dirty="0" smtClean="0"/>
                  <a:t>: </a:t>
                </a:r>
                <a:r>
                  <a:rPr lang="en-US" sz="2000" b="1" dirty="0" smtClean="0">
                    <a:solidFill>
                      <a:srgbClr val="0070C0"/>
                    </a:solidFill>
                  </a:rPr>
                  <a:t>10</a:t>
                </a:r>
              </a:p>
              <a:p>
                <a:endParaRPr lang="en-US" sz="2000" b="1" dirty="0">
                  <a:solidFill>
                    <a:srgbClr val="0070C0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dirty="0"/>
                  <a:t>Total Tasks Planned  for Sprint: </a:t>
                </a:r>
                <a:r>
                  <a:rPr lang="en-US" sz="2000" b="1" dirty="0" smtClean="0">
                    <a:solidFill>
                      <a:srgbClr val="0070C0"/>
                    </a:solidFill>
                  </a:rPr>
                  <a:t>15</a:t>
                </a:r>
                <a:endParaRPr lang="en-US" sz="2000" dirty="0"/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690522" y="1274135"/>
                <a:ext cx="5142633" cy="496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2000" b="1" dirty="0" smtClean="0"/>
                  <a:t>Note</a:t>
                </a:r>
                <a:endParaRPr lang="en-IN" sz="2000" b="1" dirty="0"/>
              </a:p>
            </p:txBody>
          </p:sp>
        </p:grpSp>
      </p:grpSp>
      <p:graphicFrame>
        <p:nvGraphicFramePr>
          <p:cNvPr id="31" name="Chart 30"/>
          <p:cNvGraphicFramePr/>
          <p:nvPr>
            <p:extLst>
              <p:ext uri="{D42A27DB-BD31-4B8C-83A1-F6EECF244321}">
                <p14:modId xmlns:p14="http://schemas.microsoft.com/office/powerpoint/2010/main" val="2587953042"/>
              </p:ext>
            </p:extLst>
          </p:nvPr>
        </p:nvGraphicFramePr>
        <p:xfrm>
          <a:off x="5839832" y="2908152"/>
          <a:ext cx="4800371" cy="3145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353719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5136692"/>
              </p:ext>
            </p:extLst>
          </p:nvPr>
        </p:nvGraphicFramePr>
        <p:xfrm>
          <a:off x="138099" y="523220"/>
          <a:ext cx="11785600" cy="62161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9608"/>
                <a:gridCol w="4799649"/>
                <a:gridCol w="3567228"/>
                <a:gridCol w="2369115"/>
              </a:tblGrid>
              <a:tr h="368435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6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D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6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ITLE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6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SIGNED TO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6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TE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626037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10838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Bug : [PAX] [FE] Upload PAX Data by Terminal/Store &amp; by Destination - The country is displayed multiple times in the upload scree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Vijaya</a:t>
                      </a:r>
                      <a:r>
                        <a:rPr lang="en-US" sz="1200" u="none" strike="noStrike" baseline="0" dirty="0" smtClean="0">
                          <a:effectLst/>
                          <a:latin typeface="+mn-lt"/>
                        </a:rPr>
                        <a:t> Kumar M</a:t>
                      </a: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&lt;t-Vijaya.Kumar@dufry.com&gt;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Done Developmen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544105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10841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Bug : [PAX] [FE] Export PAX by Destination - The PAX value is multiplied in the export templat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err="1" smtClean="0">
                          <a:effectLst/>
                          <a:latin typeface="+mn-lt"/>
                        </a:rPr>
                        <a:t>Vijaya</a:t>
                      </a:r>
                      <a:r>
                        <a:rPr lang="en-US" sz="1200" u="none" strike="noStrike" baseline="0" dirty="0" smtClean="0">
                          <a:effectLst/>
                          <a:latin typeface="+mn-lt"/>
                        </a:rPr>
                        <a:t> Kumar M</a:t>
                      </a: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&lt;t-Vijaya.Kumar@dufry.com&gt;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Done Developmen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534878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10769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Task : [Location Management][FE] Change Global Shop Code Displa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smtClean="0">
                          <a:effectLst/>
                          <a:latin typeface="+mn-lt"/>
                        </a:rPr>
                        <a:t>Vijaya</a:t>
                      </a:r>
                      <a:r>
                        <a:rPr lang="en-US" sz="1200" u="none" strike="noStrike" baseline="0" smtClean="0">
                          <a:effectLst/>
                          <a:latin typeface="+mn-lt"/>
                        </a:rPr>
                        <a:t> Kumar M</a:t>
                      </a:r>
                      <a:r>
                        <a:rPr lang="en-US" sz="1200" u="none" strike="noStrike" smtClean="0">
                          <a:effectLst/>
                          <a:latin typeface="+mn-lt"/>
                        </a:rPr>
                        <a:t>&lt;t-Vijaya.Kumar@dufry.com&gt;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In Progres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534878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10808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Task : [Location][FE] - Email Functionalit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smtClean="0">
                          <a:effectLst/>
                          <a:latin typeface="+mn-lt"/>
                        </a:rPr>
                        <a:t>Vijaya</a:t>
                      </a:r>
                      <a:r>
                        <a:rPr lang="en-US" sz="1200" u="none" strike="noStrike" baseline="0" smtClean="0">
                          <a:effectLst/>
                          <a:latin typeface="+mn-lt"/>
                        </a:rPr>
                        <a:t> Kumar M</a:t>
                      </a:r>
                      <a:r>
                        <a:rPr lang="en-US" sz="1200" u="none" strike="noStrike" smtClean="0">
                          <a:effectLst/>
                          <a:latin typeface="+mn-lt"/>
                        </a:rPr>
                        <a:t>&lt;t-Vijaya.Kumar@dufry.com&gt;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Done Developmen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714895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10440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Bug : [Location </a:t>
                      </a:r>
                      <a:r>
                        <a:rPr lang="en-US" sz="1200" u="none" strike="noStrike" dirty="0" err="1" smtClean="0">
                          <a:effectLst/>
                          <a:latin typeface="+mn-lt"/>
                        </a:rPr>
                        <a:t>Mgmt</a:t>
                      </a: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] [FE] "Working Days" and "Is 24/7" fields are still enabled and editable even when Location Status is set to Clos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err="1" smtClean="0">
                          <a:effectLst/>
                          <a:latin typeface="+mn-lt"/>
                        </a:rPr>
                        <a:t>Vijaya</a:t>
                      </a:r>
                      <a:r>
                        <a:rPr lang="en-US" sz="1200" u="none" strike="noStrike" baseline="0" dirty="0" smtClean="0">
                          <a:effectLst/>
                          <a:latin typeface="+mn-lt"/>
                        </a:rPr>
                        <a:t> Kumar M</a:t>
                      </a: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&lt;t-Vijaya.Kumar@dufry.com&gt;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Done Developmen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534878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10790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Task : [Location Size][FE] - ACTIVE/INACTIVE shop filt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err="1" smtClean="0">
                          <a:effectLst/>
                          <a:latin typeface="+mn-lt"/>
                        </a:rPr>
                        <a:t>Vijaya</a:t>
                      </a:r>
                      <a:r>
                        <a:rPr lang="en-US" sz="1200" u="none" strike="noStrike" baseline="0" dirty="0" smtClean="0">
                          <a:effectLst/>
                          <a:latin typeface="+mn-lt"/>
                        </a:rPr>
                        <a:t> Kumar M</a:t>
                      </a: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&lt;t-Vijaya.Kumar@dufry.com&gt;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To D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534878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10765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Task : [Location Management][FE] Conditionally emit duplicate validat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err="1" smtClean="0">
                          <a:effectLst/>
                          <a:latin typeface="+mn-lt"/>
                        </a:rPr>
                        <a:t>Vijaya</a:t>
                      </a:r>
                      <a:r>
                        <a:rPr lang="en-US" sz="1200" u="none" strike="noStrike" baseline="0" dirty="0" smtClean="0">
                          <a:effectLst/>
                          <a:latin typeface="+mn-lt"/>
                        </a:rPr>
                        <a:t> Kumar M</a:t>
                      </a: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&lt;t-Vijaya.Kumar@dufry.com&gt;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To D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534878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10769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Task : [Location Management][FE] Status Transi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smtClean="0">
                          <a:effectLst/>
                          <a:latin typeface="+mn-lt"/>
                        </a:rPr>
                        <a:t>Vijaya</a:t>
                      </a:r>
                      <a:r>
                        <a:rPr lang="en-US" sz="1200" u="none" strike="noStrike" baseline="0" smtClean="0">
                          <a:effectLst/>
                          <a:latin typeface="+mn-lt"/>
                        </a:rPr>
                        <a:t> Kumar M</a:t>
                      </a:r>
                      <a:r>
                        <a:rPr lang="en-US" sz="1200" u="none" strike="noStrike" smtClean="0">
                          <a:effectLst/>
                          <a:latin typeface="+mn-lt"/>
                        </a:rPr>
                        <a:t>&lt;t-Vijaya.Kumar@dufry.com&gt;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To D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714895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10768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Bug : [Location </a:t>
                      </a:r>
                      <a:r>
                        <a:rPr lang="en-US" sz="1200" u="none" strike="noStrike" dirty="0" err="1" smtClean="0">
                          <a:effectLst/>
                          <a:latin typeface="+mn-lt"/>
                        </a:rPr>
                        <a:t>Mgmt</a:t>
                      </a: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] [FE] Underscore character not displayed in the grid for the Local Shop Code and HFM Shop Code valu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Vijaya</a:t>
                      </a:r>
                      <a:r>
                        <a:rPr lang="en-US" sz="1200" u="none" strike="noStrike" baseline="0" dirty="0" smtClean="0">
                          <a:effectLst/>
                          <a:latin typeface="+mn-lt"/>
                        </a:rPr>
                        <a:t> Kumar M</a:t>
                      </a: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&lt;t-Vijaya.Kumar@dufry.com&gt;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To D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544105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74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g : [SQM] [FE] Total Active Locations KPI and Locations Without m2 KPI have no FE filter sen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Vijaya</a:t>
                      </a:r>
                      <a:r>
                        <a:rPr lang="en-US" sz="1200" u="none" strike="noStrike" baseline="0" dirty="0" smtClean="0">
                          <a:effectLst/>
                          <a:latin typeface="+mn-lt"/>
                        </a:rPr>
                        <a:t> Kumar M</a:t>
                      </a: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&lt;t-Vijaya.Kumar@dufry.com&gt;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To D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232229" y="0"/>
            <a:ext cx="357777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800" b="1" dirty="0">
                <a:solidFill>
                  <a:srgbClr val="F22C2C"/>
                </a:solidFill>
                <a:ea typeface="Lato" panose="020F0502020204030203" pitchFamily="34" charset="0"/>
                <a:cs typeface="Lato" panose="020F0502020204030203" pitchFamily="34" charset="0"/>
              </a:rPr>
              <a:t>VIJAY </a:t>
            </a:r>
            <a:r>
              <a:rPr lang="en-IN" sz="2800" b="1" dirty="0" smtClean="0">
                <a:solidFill>
                  <a:srgbClr val="F22C2C"/>
                </a:solidFill>
                <a:ea typeface="Lato" panose="020F0502020204030203" pitchFamily="34" charset="0"/>
                <a:cs typeface="Lato" panose="020F0502020204030203" pitchFamily="34" charset="0"/>
              </a:rPr>
              <a:t>KUMAR TASKS</a:t>
            </a:r>
            <a:endParaRPr lang="en-IN" sz="2800" b="1" dirty="0">
              <a:solidFill>
                <a:srgbClr val="F22C2C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607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0" y="0"/>
            <a:ext cx="719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 smtClean="0">
                <a:solidFill>
                  <a:srgbClr val="F22C2C"/>
                </a:solidFill>
                <a:ea typeface="Lato" panose="020F0502020204030203" pitchFamily="34" charset="0"/>
                <a:cs typeface="Lato" panose="020F0502020204030203" pitchFamily="34" charset="0"/>
              </a:rPr>
              <a:t>FRONTEND DASHBOARD – SREE HARI</a:t>
            </a:r>
            <a:endParaRPr lang="en-IN" sz="2800" b="1" dirty="0">
              <a:solidFill>
                <a:srgbClr val="F22C2C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389966" y="522615"/>
            <a:ext cx="10529046" cy="566835"/>
            <a:chOff x="376519" y="631371"/>
            <a:chExt cx="9558348" cy="566835"/>
          </a:xfrm>
        </p:grpSpPr>
        <p:grpSp>
          <p:nvGrpSpPr>
            <p:cNvPr id="12" name="Group 11"/>
            <p:cNvGrpSpPr/>
            <p:nvPr/>
          </p:nvGrpSpPr>
          <p:grpSpPr>
            <a:xfrm>
              <a:off x="376519" y="637790"/>
              <a:ext cx="9558348" cy="560416"/>
              <a:chOff x="275333" y="307744"/>
              <a:chExt cx="7064520" cy="560416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275333" y="314162"/>
                <a:ext cx="2603923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Project Name: </a:t>
                </a:r>
                <a:r>
                  <a:rPr lang="en-IN" sz="2000" b="1" dirty="0" smtClean="0">
                    <a:solidFill>
                      <a:srgbClr val="00B0F0"/>
                    </a:solidFill>
                  </a:rPr>
                  <a:t>Phoenix</a:t>
                </a:r>
                <a:endParaRPr lang="en-IN" sz="2000" b="1" dirty="0"/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6690843" y="308592"/>
                <a:ext cx="649010" cy="5062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RAG:</a:t>
                </a:r>
                <a:endParaRPr lang="en-IN" sz="2000" b="1" dirty="0"/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4655466" y="307744"/>
                <a:ext cx="2154556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Duration:  </a:t>
                </a:r>
                <a:r>
                  <a:rPr lang="en-IN" sz="2000" b="1" dirty="0" smtClean="0">
                    <a:solidFill>
                      <a:srgbClr val="00B0F0"/>
                    </a:solidFill>
                  </a:rPr>
                  <a:t>31 Oct - 13 Nov</a:t>
                </a:r>
                <a:endParaRPr lang="en-IN" sz="2000" b="1" dirty="0"/>
              </a:p>
            </p:txBody>
          </p:sp>
        </p:grpSp>
        <p:sp>
          <p:nvSpPr>
            <p:cNvPr id="17" name="TextBox 16"/>
            <p:cNvSpPr txBox="1"/>
            <p:nvPr/>
          </p:nvSpPr>
          <p:spPr>
            <a:xfrm>
              <a:off x="3602045" y="631371"/>
              <a:ext cx="292329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IN" sz="2000" b="1" dirty="0" smtClean="0"/>
                <a:t>Current Sprint:  </a:t>
              </a:r>
              <a:r>
                <a:rPr lang="en-IN" sz="2000" b="1" dirty="0" smtClean="0">
                  <a:solidFill>
                    <a:srgbClr val="00B0F0"/>
                  </a:solidFill>
                </a:rPr>
                <a:t>Sprint 22</a:t>
              </a:r>
              <a:endParaRPr lang="en-IN" sz="2000" b="1" dirty="0"/>
            </a:p>
          </p:txBody>
        </p:sp>
      </p:grpSp>
      <p:sp>
        <p:nvSpPr>
          <p:cNvPr id="21" name="Oval 20"/>
          <p:cNvSpPr/>
          <p:nvPr/>
        </p:nvSpPr>
        <p:spPr>
          <a:xfrm>
            <a:off x="10878562" y="639430"/>
            <a:ext cx="455454" cy="420173"/>
          </a:xfrm>
          <a:prstGeom prst="ellipse">
            <a:avLst/>
          </a:prstGeom>
          <a:solidFill>
            <a:srgbClr val="23882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1548960337"/>
              </p:ext>
            </p:extLst>
          </p:nvPr>
        </p:nvGraphicFramePr>
        <p:xfrm>
          <a:off x="1132250" y="1258865"/>
          <a:ext cx="3757199" cy="4885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6480991" y="1192580"/>
            <a:ext cx="5150030" cy="4951426"/>
            <a:chOff x="5553144" y="1217301"/>
            <a:chExt cx="5150030" cy="4951426"/>
          </a:xfrm>
        </p:grpSpPr>
        <p:grpSp>
          <p:nvGrpSpPr>
            <p:cNvPr id="25" name="Group 24"/>
            <p:cNvGrpSpPr/>
            <p:nvPr/>
          </p:nvGrpSpPr>
          <p:grpSpPr>
            <a:xfrm>
              <a:off x="5553144" y="1217301"/>
              <a:ext cx="5150030" cy="4951426"/>
              <a:chOff x="567408" y="1304480"/>
              <a:chExt cx="5206292" cy="6108520"/>
            </a:xfrm>
          </p:grpSpPr>
          <p:sp>
            <p:nvSpPr>
              <p:cNvPr id="27" name="Rectangle 26"/>
              <p:cNvSpPr/>
              <p:nvPr/>
            </p:nvSpPr>
            <p:spPr>
              <a:xfrm>
                <a:off x="631066" y="1365161"/>
                <a:ext cx="5142634" cy="604783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grpSp>
            <p:nvGrpSpPr>
              <p:cNvPr id="28" name="Group 27"/>
              <p:cNvGrpSpPr/>
              <p:nvPr/>
            </p:nvGrpSpPr>
            <p:grpSpPr>
              <a:xfrm>
                <a:off x="567408" y="1304480"/>
                <a:ext cx="5206291" cy="1706284"/>
                <a:chOff x="690522" y="1274135"/>
                <a:chExt cx="5206291" cy="1706284"/>
              </a:xfrm>
            </p:grpSpPr>
            <p:sp>
              <p:nvSpPr>
                <p:cNvPr id="29" name="TextBox 28"/>
                <p:cNvSpPr txBox="1"/>
                <p:nvPr/>
              </p:nvSpPr>
              <p:spPr>
                <a:xfrm>
                  <a:off x="782293" y="1727407"/>
                  <a:ext cx="5114520" cy="125301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285750" indent="-285750">
                    <a:buFont typeface="Arial" panose="020B0604020202020204" pitchFamily="34" charset="0"/>
                    <a:buChar char="•"/>
                  </a:pPr>
                  <a:r>
                    <a:rPr lang="en-US" sz="2000" dirty="0"/>
                    <a:t>Total Tasks Picked Up Changepond: </a:t>
                  </a:r>
                  <a:r>
                    <a:rPr lang="en-US" sz="2000" b="1" dirty="0" smtClean="0">
                      <a:solidFill>
                        <a:srgbClr val="0070C0"/>
                      </a:solidFill>
                    </a:rPr>
                    <a:t>04</a:t>
                  </a:r>
                </a:p>
                <a:p>
                  <a:endParaRPr lang="en-US" sz="2000" b="1" dirty="0">
                    <a:solidFill>
                      <a:srgbClr val="0070C0"/>
                    </a:solidFill>
                  </a:endParaRPr>
                </a:p>
                <a:p>
                  <a:pPr marL="285750" indent="-285750">
                    <a:buFont typeface="Arial" panose="020B0604020202020204" pitchFamily="34" charset="0"/>
                    <a:buChar char="•"/>
                  </a:pPr>
                  <a:r>
                    <a:rPr lang="en-US" sz="2000" dirty="0"/>
                    <a:t>Total Tasks Planned  for Sprint: </a:t>
                  </a:r>
                  <a:r>
                    <a:rPr lang="en-US" sz="2000" b="1" dirty="0" smtClean="0">
                      <a:solidFill>
                        <a:srgbClr val="0070C0"/>
                      </a:solidFill>
                    </a:rPr>
                    <a:t>101</a:t>
                  </a:r>
                  <a:endParaRPr lang="en-US" sz="2000" dirty="0"/>
                </a:p>
              </p:txBody>
            </p:sp>
            <p:sp>
              <p:nvSpPr>
                <p:cNvPr id="30" name="TextBox 29"/>
                <p:cNvSpPr txBox="1"/>
                <p:nvPr/>
              </p:nvSpPr>
              <p:spPr>
                <a:xfrm>
                  <a:off x="690522" y="1274135"/>
                  <a:ext cx="5142633" cy="4962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IN" sz="2000" b="1" dirty="0" smtClean="0"/>
                    <a:t>Note</a:t>
                  </a:r>
                  <a:endParaRPr lang="en-IN" sz="2000" b="1" dirty="0"/>
                </a:p>
              </p:txBody>
            </p:sp>
          </p:grpSp>
        </p:grpSp>
        <p:graphicFrame>
          <p:nvGraphicFramePr>
            <p:cNvPr id="32" name="Chart 31"/>
            <p:cNvGraphicFramePr/>
            <p:nvPr>
              <p:extLst>
                <p:ext uri="{D42A27DB-BD31-4B8C-83A1-F6EECF244321}">
                  <p14:modId xmlns:p14="http://schemas.microsoft.com/office/powerpoint/2010/main" val="4016671334"/>
                </p:ext>
              </p:extLst>
            </p:nvPr>
          </p:nvGraphicFramePr>
          <p:xfrm>
            <a:off x="5970494" y="2929431"/>
            <a:ext cx="4464872" cy="304600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6192736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52016"/>
              </p:ext>
            </p:extLst>
          </p:nvPr>
        </p:nvGraphicFramePr>
        <p:xfrm>
          <a:off x="941660" y="911147"/>
          <a:ext cx="10529903" cy="43397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4340"/>
                <a:gridCol w="6761018"/>
                <a:gridCol w="2424545"/>
              </a:tblGrid>
              <a:tr h="537528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D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ITLE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TE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90126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0773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400" u="none" strike="noStrike" dirty="0" smtClean="0">
                          <a:effectLst/>
                          <a:latin typeface="+mn-lt"/>
                        </a:rPr>
                        <a:t>Bug : [VP]</a:t>
                      </a:r>
                      <a:r>
                        <a:rPr lang="en-US" sz="1400" u="none" strike="noStrike" baseline="0" dirty="0" smtClean="0">
                          <a:effectLst/>
                          <a:latin typeface="+mn-lt"/>
                        </a:rPr>
                        <a:t> [Multi-Language Support] [Online Form] [FE] – The tooltip of the save button is not translate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 smtClean="0">
                          <a:effectLst/>
                          <a:latin typeface="+mn-lt"/>
                        </a:rPr>
                        <a:t>In Progress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85393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0841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400" u="none" strike="noStrike" dirty="0" smtClean="0">
                          <a:effectLst/>
                          <a:latin typeface="+mn-lt"/>
                        </a:rPr>
                        <a:t>Task :</a:t>
                      </a:r>
                      <a:r>
                        <a:rPr lang="en-US" sz="1400" u="none" strike="noStrike" baseline="0" dirty="0" smtClean="0">
                          <a:effectLst/>
                          <a:latin typeface="+mn-lt"/>
                        </a:rPr>
                        <a:t> [VP] [Rebranding – Phase 1 ] [TSD Documentation] [FE] – Create a TSD fil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400" u="none" strike="noStrike" dirty="0" smtClean="0">
                          <a:effectLst/>
                          <a:latin typeface="+mn-lt"/>
                        </a:rPr>
                        <a:t>Done Developmen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1276981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849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 smtClean="0">
                          <a:effectLst/>
                          <a:latin typeface="+mn-lt"/>
                        </a:rPr>
                        <a:t>Task: </a:t>
                      </a:r>
                      <a:r>
                        <a:rPr lang="en-US" sz="1400" u="none" strike="noStrike" baseline="0" dirty="0" smtClean="0">
                          <a:effectLst/>
                          <a:latin typeface="+mn-lt"/>
                        </a:rPr>
                        <a:t>VP] [Rebranding] [FE] Replace the old login page with new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ctr">
                        <a:lnSpc>
                          <a:spcPct val="150000"/>
                        </a:lnSpc>
                      </a:pP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u="none" strike="noStrike" dirty="0" smtClean="0">
                        <a:effectLst/>
                        <a:latin typeface="+mn-lt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 smtClean="0">
                          <a:effectLst/>
                          <a:latin typeface="+mn-lt"/>
                        </a:rPr>
                        <a:t>Done Development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>
                        <a:lnSpc>
                          <a:spcPct val="150000"/>
                        </a:lnSpc>
                      </a:pP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770024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400" u="none" strike="noStrike" dirty="0" smtClean="0">
                          <a:effectLst/>
                          <a:latin typeface="+mn-lt"/>
                        </a:rPr>
                        <a:t>10690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 smtClean="0">
                          <a:effectLst/>
                          <a:latin typeface="+mn-lt"/>
                        </a:rPr>
                        <a:t>Task: </a:t>
                      </a:r>
                      <a:r>
                        <a:rPr lang="en-US" sz="1400" u="none" strike="noStrike" baseline="0" dirty="0" smtClean="0">
                          <a:effectLst/>
                          <a:latin typeface="+mn-lt"/>
                        </a:rPr>
                        <a:t>VP] [Rebranding] [FE] Replace the </a:t>
                      </a:r>
                      <a:r>
                        <a:rPr lang="en-US" sz="1400" u="none" strike="noStrike" baseline="0" dirty="0" err="1" smtClean="0">
                          <a:effectLst/>
                          <a:latin typeface="+mn-lt"/>
                        </a:rPr>
                        <a:t>Dufry</a:t>
                      </a:r>
                      <a:r>
                        <a:rPr lang="en-US" sz="1400" u="none" strike="noStrike" baseline="0" dirty="0" smtClean="0">
                          <a:effectLst/>
                          <a:latin typeface="+mn-lt"/>
                        </a:rPr>
                        <a:t> logo with new log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400" u="none" strike="noStrike" dirty="0" smtClean="0">
                          <a:effectLst/>
                          <a:latin typeface="+mn-lt"/>
                        </a:rPr>
                        <a:t>Done Developmen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90666" y="180109"/>
            <a:ext cx="32591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srgbClr val="F22C2C"/>
                </a:solidFill>
                <a:ea typeface="Lato" panose="020F0502020204030203" pitchFamily="34" charset="0"/>
                <a:cs typeface="Lato" panose="020F0502020204030203" pitchFamily="34" charset="0"/>
              </a:rPr>
              <a:t>SREE HARI TASKS</a:t>
            </a:r>
            <a:endParaRPr lang="en-IN" sz="2800" b="1" dirty="0">
              <a:solidFill>
                <a:srgbClr val="F22C2C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1839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31149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-103504"/>
            <a:ext cx="12192000" cy="6858000"/>
          </a:xfrm>
          <a:prstGeom prst="rect">
            <a:avLst/>
          </a:prstGeom>
          <a:solidFill>
            <a:srgbClr val="183A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TextBox 7"/>
          <p:cNvSpPr txBox="1"/>
          <p:nvPr/>
        </p:nvSpPr>
        <p:spPr>
          <a:xfrm>
            <a:off x="4536694" y="6369099"/>
            <a:ext cx="24288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IN" sz="11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Changepond Technologies. Confidentia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0538" y="460774"/>
            <a:ext cx="4178836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IN" sz="3600" b="1" dirty="0" smtClean="0">
                <a:solidFill>
                  <a:schemeClr val="bg1"/>
                </a:solidFill>
                <a:ea typeface="Lato"/>
                <a:cs typeface="Lato"/>
              </a:rPr>
              <a:t>A &amp; P Modernization</a:t>
            </a:r>
            <a:endParaRPr lang="en-IN" sz="3600" b="1" dirty="0">
              <a:solidFill>
                <a:schemeClr val="bg1"/>
              </a:solidFill>
              <a:ea typeface="Lato"/>
              <a:cs typeface="Lato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30538" y="2992367"/>
            <a:ext cx="3271729" cy="327782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IN" sz="2300" dirty="0">
                <a:solidFill>
                  <a:schemeClr val="bg1"/>
                </a:solidFill>
                <a:latin typeface="+mj-lt"/>
                <a:ea typeface="Lato"/>
                <a:cs typeface="Lato"/>
              </a:rPr>
              <a:t> </a:t>
            </a:r>
            <a:r>
              <a:rPr lang="en-IN" sz="2300" b="1" u="sng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Changepond Team: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IN" sz="2300" dirty="0" smtClean="0">
                <a:solidFill>
                  <a:schemeClr val="bg1"/>
                </a:solidFill>
                <a:ea typeface="Lato"/>
                <a:cs typeface="Lato"/>
              </a:rPr>
              <a:t>Sakthivel</a:t>
            </a:r>
            <a:endParaRPr lang="en-IN" sz="2300" dirty="0">
              <a:solidFill>
                <a:schemeClr val="bg1"/>
              </a:solidFill>
              <a:ea typeface="Lato"/>
              <a:cs typeface="Lato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IN" sz="2300" dirty="0" smtClean="0">
                <a:solidFill>
                  <a:schemeClr val="bg1"/>
                </a:solidFill>
                <a:ea typeface="Lato"/>
                <a:cs typeface="Lato"/>
              </a:rPr>
              <a:t>Suresh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IN" sz="2300" dirty="0" err="1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Shashi</a:t>
            </a:r>
            <a:r>
              <a:rPr lang="en-IN" sz="2300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n-IN" sz="2300" dirty="0" err="1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Kiran</a:t>
            </a:r>
            <a:endParaRPr lang="en-IN" sz="2300" dirty="0" smtClean="0">
              <a:solidFill>
                <a:schemeClr val="bg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IN" sz="2300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Guru </a:t>
            </a:r>
            <a:r>
              <a:rPr lang="en-IN" sz="2300" dirty="0" err="1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Prasadh</a:t>
            </a:r>
            <a:endParaRPr lang="en-IN" sz="2300" dirty="0" smtClean="0">
              <a:solidFill>
                <a:schemeClr val="bg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IN" sz="2300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Ganesh Kumar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IN" sz="2300" dirty="0" err="1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Kamarsaman</a:t>
            </a:r>
            <a:r>
              <a:rPr lang="en-IN" sz="2300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 Ahamed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IN" sz="2300" dirty="0" err="1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Kamesh</a:t>
            </a:r>
            <a:endParaRPr lang="en-IN" sz="2300" dirty="0">
              <a:solidFill>
                <a:schemeClr val="bg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en-IN" sz="2300" dirty="0">
              <a:solidFill>
                <a:schemeClr val="bg1"/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BF143A30-8993-82AB-078A-EEBB0D9EDC61}"/>
              </a:ext>
            </a:extLst>
          </p:cNvPr>
          <p:cNvSpPr txBox="1"/>
          <p:nvPr/>
        </p:nvSpPr>
        <p:spPr>
          <a:xfrm>
            <a:off x="698368" y="1385350"/>
            <a:ext cx="4566571" cy="150810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IN" sz="2300" b="1" u="sng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Project Manager </a:t>
            </a:r>
            <a:r>
              <a:rPr lang="en-IN" sz="2300" b="1" u="sng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&amp;  </a:t>
            </a:r>
            <a:r>
              <a:rPr lang="en-IN" sz="2300" b="1" u="sng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Product Owner</a:t>
            </a:r>
            <a:r>
              <a:rPr lang="en-IN" sz="2300" b="1" u="sng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:</a:t>
            </a:r>
          </a:p>
          <a:p>
            <a:endParaRPr lang="en-IN" sz="2300" b="1" u="sng" dirty="0">
              <a:solidFill>
                <a:schemeClr val="bg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IN" sz="2300" dirty="0" smtClean="0">
                <a:solidFill>
                  <a:schemeClr val="bg1"/>
                </a:solidFill>
                <a:ea typeface="Lato"/>
                <a:cs typeface="Lato"/>
              </a:rPr>
              <a:t>Peter </a:t>
            </a:r>
            <a:r>
              <a:rPr lang="en-IN" sz="2300" dirty="0" err="1" smtClean="0">
                <a:solidFill>
                  <a:schemeClr val="bg1"/>
                </a:solidFill>
                <a:ea typeface="Lato"/>
                <a:cs typeface="Lato"/>
              </a:rPr>
              <a:t>Kluka</a:t>
            </a:r>
            <a:endParaRPr lang="en-IN" sz="2300" dirty="0" smtClean="0">
              <a:solidFill>
                <a:schemeClr val="bg1"/>
              </a:solidFill>
              <a:ea typeface="Lato"/>
              <a:cs typeface="Lato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IN" sz="2300" dirty="0" err="1">
                <a:solidFill>
                  <a:schemeClr val="bg1"/>
                </a:solidFill>
                <a:ea typeface="Lato"/>
                <a:cs typeface="Lato"/>
              </a:rPr>
              <a:t>Oana</a:t>
            </a:r>
            <a:r>
              <a:rPr lang="en-IN" sz="2300" dirty="0">
                <a:solidFill>
                  <a:schemeClr val="bg1"/>
                </a:solidFill>
                <a:ea typeface="Lato"/>
                <a:cs typeface="Lato"/>
              </a:rPr>
              <a:t> </a:t>
            </a:r>
            <a:r>
              <a:rPr lang="en-IN" sz="2300" dirty="0" err="1">
                <a:solidFill>
                  <a:schemeClr val="bg1"/>
                </a:solidFill>
                <a:ea typeface="Lato"/>
                <a:cs typeface="Lato"/>
              </a:rPr>
              <a:t>Negoita</a:t>
            </a:r>
            <a:endParaRPr lang="en-IN" sz="2300" dirty="0">
              <a:solidFill>
                <a:schemeClr val="bg1"/>
              </a:solidFill>
              <a:ea typeface="Lato"/>
              <a:cs typeface="Lato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98368" y="1061386"/>
            <a:ext cx="914400" cy="45719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17018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92" y="132912"/>
            <a:ext cx="6012767" cy="835278"/>
          </a:xfrm>
        </p:spPr>
        <p:txBody>
          <a:bodyPr>
            <a:normAutofit/>
          </a:bodyPr>
          <a:lstStyle/>
          <a:p>
            <a:r>
              <a:rPr lang="en-IN" sz="3600" dirty="0">
                <a:solidFill>
                  <a:srgbClr val="FF0000"/>
                </a:solidFill>
                <a:latin typeface="+mn-lt"/>
                <a:ea typeface="Lato"/>
                <a:cs typeface="Lato"/>
              </a:rPr>
              <a:t>A &amp; P </a:t>
            </a:r>
            <a:r>
              <a:rPr lang="en-IN" sz="3600" dirty="0" smtClean="0">
                <a:solidFill>
                  <a:srgbClr val="FF0000"/>
                </a:solidFill>
                <a:latin typeface="+mn-lt"/>
                <a:ea typeface="Lato"/>
                <a:cs typeface="Lato"/>
              </a:rPr>
              <a:t>Modernization </a:t>
            </a:r>
            <a:r>
              <a:rPr lang="en-US" sz="3600" dirty="0" smtClean="0">
                <a:solidFill>
                  <a:srgbClr val="FF0000"/>
                </a:solidFill>
                <a:latin typeface="+mn-lt"/>
              </a:rPr>
              <a:t>Status</a:t>
            </a:r>
            <a:endParaRPr lang="en-IN" sz="360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17749" y="1445026"/>
            <a:ext cx="879130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 smtClean="0"/>
              <a:t>Gihub</a:t>
            </a:r>
            <a:r>
              <a:rPr lang="en-IN" dirty="0" smtClean="0"/>
              <a:t> access has been provided for the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 smtClean="0"/>
              <a:t>Dufry</a:t>
            </a:r>
            <a:r>
              <a:rPr lang="en-IN" dirty="0" smtClean="0"/>
              <a:t> account &amp; WVD access created – Suresh/</a:t>
            </a:r>
            <a:r>
              <a:rPr lang="en-IN" dirty="0" err="1" smtClean="0"/>
              <a:t>Sakthi</a:t>
            </a:r>
            <a:r>
              <a:rPr lang="en-IN" dirty="0" smtClean="0"/>
              <a:t> – Pending for others</a:t>
            </a:r>
            <a:br>
              <a:rPr lang="en-IN" dirty="0" smtClean="0"/>
            </a:b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KT on A &amp; P Application modules – Starting from 7</a:t>
            </a:r>
            <a:r>
              <a:rPr lang="en-IN" baseline="30000" dirty="0" smtClean="0"/>
              <a:t>th</a:t>
            </a:r>
            <a:r>
              <a:rPr lang="en-IN" dirty="0" smtClean="0"/>
              <a:t> Nov</a:t>
            </a:r>
            <a:br>
              <a:rPr lang="en-IN" dirty="0" smtClean="0"/>
            </a:b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Discovery phase - Starting from Monday 13</a:t>
            </a:r>
            <a:r>
              <a:rPr lang="en-IN" baseline="30000" dirty="0" smtClean="0"/>
              <a:t>th</a:t>
            </a:r>
            <a:r>
              <a:rPr lang="en-IN" dirty="0" smtClean="0"/>
              <a:t> Nov until 14</a:t>
            </a:r>
            <a:r>
              <a:rPr lang="en-IN" baseline="30000" dirty="0" smtClean="0"/>
              <a:t>th</a:t>
            </a:r>
            <a:r>
              <a:rPr lang="en-IN" dirty="0" smtClean="0"/>
              <a:t> Dec – Thrice a week</a:t>
            </a:r>
            <a:br>
              <a:rPr lang="en-IN" dirty="0" smtClean="0"/>
            </a:b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201170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83A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610948" y="6535207"/>
            <a:ext cx="24288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IN" sz="1100" dirty="0">
                <a:solidFill>
                  <a:schemeClr val="bg1"/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Changepond Technologies. Confidentia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34470" y="342925"/>
            <a:ext cx="63780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Lato" panose="020F0502020204030203" pitchFamily="34" charset="0"/>
                <a:cs typeface="Lato" panose="020F0502020204030203" pitchFamily="34" charset="0"/>
              </a:rPr>
              <a:t>Backend (Java + Spring) - Stream</a:t>
            </a:r>
            <a:endParaRPr lang="en-IN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536" y="3684388"/>
            <a:ext cx="4627263" cy="1685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IN" sz="2300" b="1" u="sng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Changepond </a:t>
            </a:r>
            <a:r>
              <a:rPr lang="en-IN" sz="2300" b="1" u="sng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Team: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300" dirty="0" err="1">
                <a:solidFill>
                  <a:schemeClr val="bg1"/>
                </a:solidFill>
                <a:ea typeface="Lato"/>
                <a:cs typeface="Lato"/>
              </a:rPr>
              <a:t>Atanu</a:t>
            </a:r>
            <a:r>
              <a:rPr lang="en-IN" sz="2300" dirty="0">
                <a:solidFill>
                  <a:schemeClr val="bg1"/>
                </a:solidFill>
                <a:ea typeface="Lato"/>
                <a:cs typeface="Lato"/>
              </a:rPr>
              <a:t> </a:t>
            </a:r>
            <a:r>
              <a:rPr lang="en-IN" sz="2300" dirty="0" err="1">
                <a:solidFill>
                  <a:schemeClr val="bg1"/>
                </a:solidFill>
                <a:ea typeface="Lato"/>
                <a:cs typeface="Lato"/>
              </a:rPr>
              <a:t>Mazumdar</a:t>
            </a:r>
            <a:endParaRPr lang="en-IN" sz="2300" dirty="0">
              <a:solidFill>
                <a:schemeClr val="bg1"/>
              </a:solidFill>
              <a:ea typeface="Lato"/>
              <a:cs typeface="Lato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300" dirty="0" err="1">
                <a:solidFill>
                  <a:schemeClr val="bg1"/>
                </a:solidFill>
                <a:ea typeface="Lato"/>
                <a:cs typeface="Lato"/>
              </a:rPr>
              <a:t>Satish</a:t>
            </a:r>
            <a:r>
              <a:rPr lang="en-IN" sz="2300" dirty="0">
                <a:solidFill>
                  <a:schemeClr val="bg1"/>
                </a:solidFill>
                <a:ea typeface="Lato"/>
                <a:cs typeface="Lato"/>
              </a:rPr>
              <a:t> </a:t>
            </a:r>
            <a:r>
              <a:rPr lang="en-IN" sz="2300" dirty="0" err="1">
                <a:solidFill>
                  <a:schemeClr val="bg1"/>
                </a:solidFill>
                <a:ea typeface="Lato"/>
                <a:cs typeface="Lato"/>
              </a:rPr>
              <a:t>Patil</a:t>
            </a:r>
            <a:endParaRPr lang="en-IN" sz="2300" dirty="0">
              <a:solidFill>
                <a:schemeClr val="bg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30536" y="1520827"/>
            <a:ext cx="6039203" cy="1685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IN" sz="2300" b="1" u="sng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Project Manager</a:t>
            </a:r>
            <a:r>
              <a:rPr lang="en-IN" sz="2300" b="1" dirty="0" smtClean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: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300" dirty="0" err="1">
                <a:solidFill>
                  <a:schemeClr val="bg1"/>
                </a:solidFill>
                <a:ea typeface="Lato"/>
                <a:cs typeface="Lato"/>
              </a:rPr>
              <a:t>Vlad</a:t>
            </a:r>
            <a:r>
              <a:rPr lang="en-IN" sz="2300" dirty="0">
                <a:solidFill>
                  <a:schemeClr val="bg1"/>
                </a:solidFill>
                <a:ea typeface="Lato"/>
                <a:cs typeface="Lato"/>
              </a:rPr>
              <a:t> </a:t>
            </a:r>
            <a:r>
              <a:rPr lang="en-IN" sz="2300" dirty="0" err="1">
                <a:solidFill>
                  <a:schemeClr val="bg1"/>
                </a:solidFill>
                <a:ea typeface="Lato"/>
                <a:cs typeface="Lato"/>
              </a:rPr>
              <a:t>Blaj</a:t>
            </a:r>
            <a:r>
              <a:rPr lang="en-IN" sz="2300" dirty="0">
                <a:solidFill>
                  <a:schemeClr val="bg1"/>
                </a:solidFill>
                <a:ea typeface="Lato"/>
                <a:cs typeface="Lato"/>
              </a:rPr>
              <a:t> – CMA (Mind IT)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300" dirty="0" err="1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Ioana</a:t>
            </a:r>
            <a:r>
              <a:rPr lang="en-IN" sz="23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n-IN" sz="2300" dirty="0" err="1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Vasile</a:t>
            </a:r>
            <a:r>
              <a:rPr lang="en-IN" sz="23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 – Shop Management </a:t>
            </a:r>
            <a:r>
              <a:rPr lang="en-IN" sz="2300" dirty="0">
                <a:solidFill>
                  <a:schemeClr val="bg1"/>
                </a:solidFill>
                <a:ea typeface="Lato"/>
                <a:cs typeface="Lato"/>
              </a:rPr>
              <a:t>(Mind IT)</a:t>
            </a:r>
            <a:endParaRPr lang="en-IN" sz="2300" dirty="0">
              <a:solidFill>
                <a:schemeClr val="bg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7368" y="996624"/>
            <a:ext cx="914400" cy="45719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851399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0" y="0"/>
            <a:ext cx="719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 smtClean="0">
                <a:solidFill>
                  <a:srgbClr val="F22C2C"/>
                </a:solidFill>
                <a:ea typeface="Lato" panose="020F0502020204030203" pitchFamily="34" charset="0"/>
                <a:cs typeface="Lato" panose="020F0502020204030203" pitchFamily="34" charset="0"/>
              </a:rPr>
              <a:t>BACKEND DASHBOARD – SATISH PATIL</a:t>
            </a:r>
            <a:endParaRPr lang="en-IN" sz="2800" b="1" dirty="0">
              <a:solidFill>
                <a:srgbClr val="F22C2C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389966" y="529034"/>
            <a:ext cx="10529046" cy="573110"/>
            <a:chOff x="376519" y="637790"/>
            <a:chExt cx="9558348" cy="573110"/>
          </a:xfrm>
        </p:grpSpPr>
        <p:grpSp>
          <p:nvGrpSpPr>
            <p:cNvPr id="12" name="Group 11"/>
            <p:cNvGrpSpPr/>
            <p:nvPr/>
          </p:nvGrpSpPr>
          <p:grpSpPr>
            <a:xfrm>
              <a:off x="376519" y="637790"/>
              <a:ext cx="9558348" cy="560416"/>
              <a:chOff x="275333" y="307744"/>
              <a:chExt cx="7064520" cy="560416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275333" y="314162"/>
                <a:ext cx="2603923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Project Name: </a:t>
                </a:r>
                <a:r>
                  <a:rPr lang="en-IN" b="1" dirty="0" smtClean="0">
                    <a:solidFill>
                      <a:srgbClr val="00B0F0"/>
                    </a:solidFill>
                  </a:rPr>
                  <a:t> CMA</a:t>
                </a:r>
                <a:endParaRPr lang="en-IN" sz="2000" b="1" dirty="0"/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6690843" y="308592"/>
                <a:ext cx="649010" cy="5062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RAG:</a:t>
                </a:r>
                <a:endParaRPr lang="en-IN" sz="2000" b="1" dirty="0"/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4655466" y="307744"/>
                <a:ext cx="2154556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Duration:  </a:t>
                </a:r>
                <a:r>
                  <a:rPr lang="en-IN" sz="2000" b="1" dirty="0" smtClean="0">
                    <a:solidFill>
                      <a:srgbClr val="00B0F0"/>
                    </a:solidFill>
                  </a:rPr>
                  <a:t>31 Oct - 13 Nov</a:t>
                </a:r>
                <a:endParaRPr lang="en-IN" sz="2000" b="1" dirty="0"/>
              </a:p>
            </p:txBody>
          </p:sp>
        </p:grpSp>
        <p:sp>
          <p:nvSpPr>
            <p:cNvPr id="17" name="TextBox 16"/>
            <p:cNvSpPr txBox="1"/>
            <p:nvPr/>
          </p:nvSpPr>
          <p:spPr>
            <a:xfrm>
              <a:off x="3327458" y="656902"/>
              <a:ext cx="292329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IN" sz="2000" b="1" dirty="0" smtClean="0"/>
                <a:t>Current Sprint:  </a:t>
              </a:r>
              <a:r>
                <a:rPr lang="en-IN" sz="2000" b="1" dirty="0" smtClean="0">
                  <a:solidFill>
                    <a:srgbClr val="00B0F0"/>
                  </a:solidFill>
                </a:rPr>
                <a:t>Sprint 22</a:t>
              </a:r>
              <a:endParaRPr lang="en-IN" sz="2000" b="1" dirty="0"/>
            </a:p>
          </p:txBody>
        </p:sp>
      </p:grpSp>
      <p:sp>
        <p:nvSpPr>
          <p:cNvPr id="21" name="Oval 20"/>
          <p:cNvSpPr/>
          <p:nvPr/>
        </p:nvSpPr>
        <p:spPr>
          <a:xfrm>
            <a:off x="10878562" y="639430"/>
            <a:ext cx="455454" cy="420173"/>
          </a:xfrm>
          <a:prstGeom prst="ellipse">
            <a:avLst/>
          </a:prstGeom>
          <a:solidFill>
            <a:srgbClr val="23882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25" name="Group 24"/>
          <p:cNvGrpSpPr/>
          <p:nvPr/>
        </p:nvGrpSpPr>
        <p:grpSpPr>
          <a:xfrm>
            <a:off x="5930222" y="1341992"/>
            <a:ext cx="5150030" cy="4951426"/>
            <a:chOff x="567408" y="1304480"/>
            <a:chExt cx="5206292" cy="6108520"/>
          </a:xfrm>
        </p:grpSpPr>
        <p:sp>
          <p:nvSpPr>
            <p:cNvPr id="27" name="Rectangle 26"/>
            <p:cNvSpPr/>
            <p:nvPr/>
          </p:nvSpPr>
          <p:spPr>
            <a:xfrm>
              <a:off x="631066" y="1365161"/>
              <a:ext cx="5142634" cy="60478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567408" y="1304480"/>
              <a:ext cx="5206291" cy="1706284"/>
              <a:chOff x="690522" y="1274135"/>
              <a:chExt cx="5206291" cy="1706284"/>
            </a:xfrm>
          </p:grpSpPr>
          <p:sp>
            <p:nvSpPr>
              <p:cNvPr id="29" name="TextBox 28"/>
              <p:cNvSpPr txBox="1"/>
              <p:nvPr/>
            </p:nvSpPr>
            <p:spPr>
              <a:xfrm>
                <a:off x="782293" y="1727407"/>
                <a:ext cx="5114520" cy="12530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dirty="0"/>
                  <a:t>Total Tasks Picked Up </a:t>
                </a:r>
                <a:r>
                  <a:rPr lang="en-US" sz="2000" dirty="0" smtClean="0"/>
                  <a:t>Changepond: </a:t>
                </a:r>
                <a:r>
                  <a:rPr lang="en-US" sz="2000" b="1" dirty="0" smtClean="0">
                    <a:solidFill>
                      <a:srgbClr val="0070C0"/>
                    </a:solidFill>
                  </a:rPr>
                  <a:t>06</a:t>
                </a:r>
              </a:p>
              <a:p>
                <a:endParaRPr lang="en-US" sz="2000" b="1" dirty="0">
                  <a:solidFill>
                    <a:srgbClr val="0070C0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dirty="0"/>
                  <a:t>Total Tasks Planned  for Sprint</a:t>
                </a:r>
                <a:r>
                  <a:rPr lang="en-US" sz="2000" dirty="0" smtClean="0"/>
                  <a:t>: </a:t>
                </a:r>
                <a:r>
                  <a:rPr lang="en-US" sz="2000" b="1" dirty="0" smtClean="0">
                    <a:solidFill>
                      <a:srgbClr val="0070C0"/>
                    </a:solidFill>
                  </a:rPr>
                  <a:t>12</a:t>
                </a:r>
                <a:endParaRPr lang="en-US" sz="2000" dirty="0"/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690522" y="1274135"/>
                <a:ext cx="5142633" cy="4962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2000" b="1" dirty="0" smtClean="0"/>
                  <a:t>Note</a:t>
                </a:r>
                <a:endParaRPr lang="en-IN" sz="2000" b="1" dirty="0"/>
              </a:p>
            </p:txBody>
          </p:sp>
        </p:grpSp>
      </p:grpSp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116482673"/>
              </p:ext>
            </p:extLst>
          </p:nvPr>
        </p:nvGraphicFramePr>
        <p:xfrm>
          <a:off x="516715" y="1341992"/>
          <a:ext cx="5190503" cy="4901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6" name="Chart 25"/>
          <p:cNvGraphicFramePr/>
          <p:nvPr>
            <p:extLst>
              <p:ext uri="{D42A27DB-BD31-4B8C-83A1-F6EECF244321}">
                <p14:modId xmlns:p14="http://schemas.microsoft.com/office/powerpoint/2010/main" val="3702954050"/>
              </p:ext>
            </p:extLst>
          </p:nvPr>
        </p:nvGraphicFramePr>
        <p:xfrm>
          <a:off x="6488342" y="2774254"/>
          <a:ext cx="4221222" cy="32579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586390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278879"/>
              </p:ext>
            </p:extLst>
          </p:nvPr>
        </p:nvGraphicFramePr>
        <p:xfrm>
          <a:off x="914402" y="720439"/>
          <a:ext cx="10377055" cy="56249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411"/>
                <a:gridCol w="2075411"/>
                <a:gridCol w="2075411"/>
                <a:gridCol w="2075411"/>
                <a:gridCol w="2075411"/>
              </a:tblGrid>
              <a:tr h="5624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RK ITEM TYP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TL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SIGNED TO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T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84374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27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[BE] address the high severity issu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tish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til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&lt;t-Satish.Subhashpatil@dufry.com&gt;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ne</a:t>
                      </a:r>
                    </a:p>
                  </a:txBody>
                  <a:tcPr marL="7620" marR="7620" marT="7620" marB="0" anchor="ctr"/>
                </a:tc>
              </a:tr>
              <a:tr h="84374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27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[BE] Clear the error issu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tish Patil &lt;t-Satish.Subhashpatil@dufry.com&gt;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Do</a:t>
                      </a:r>
                    </a:p>
                  </a:txBody>
                  <a:tcPr marL="7620" marR="7620" marT="7620" marB="0" anchor="ctr"/>
                </a:tc>
              </a:tr>
              <a:tr h="84374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75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[BE][FE][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xtermop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]  update get all shops active from compan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tish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til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&lt;t-Satish.Subhashpatil@dufry.com&gt;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ne</a:t>
                      </a:r>
                    </a:p>
                  </a:txBody>
                  <a:tcPr marL="7620" marR="7620" marT="7620" marB="0" anchor="ctr"/>
                </a:tc>
              </a:tr>
              <a:tr h="84374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81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[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toqadb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][BE] - Create Spring Profile for QA (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toq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tish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til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&lt;t-Satish.Subhashpatil@dufry.com&gt;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 Progress</a:t>
                      </a:r>
                    </a:p>
                  </a:txBody>
                  <a:tcPr marL="7620" marR="7620" marT="7620" marB="0" anchor="ctr"/>
                </a:tc>
              </a:tr>
              <a:tr h="84374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81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vert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hopDTO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o an immutable recor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tish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til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&lt;t-Satish.Subhashpatil@dufry.com&gt;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 Progress</a:t>
                      </a:r>
                    </a:p>
                  </a:txBody>
                  <a:tcPr marL="7620" marR="7620" marT="7620" marB="0" anchor="ctr"/>
                </a:tc>
              </a:tr>
              <a:tr h="84374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85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[BE] - Upgrade CT feature from develop to Spring Boot 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tish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til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&lt;t-Satish.Subhashpatil@dufry.com&gt;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ne</a:t>
                      </a: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190666" y="180109"/>
            <a:ext cx="32591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srgbClr val="F22C2C"/>
                </a:solidFill>
                <a:ea typeface="Lato" panose="020F0502020204030203" pitchFamily="34" charset="0"/>
                <a:cs typeface="Lato" panose="020F0502020204030203" pitchFamily="34" charset="0"/>
              </a:rPr>
              <a:t>SATISH PATIL TASKS</a:t>
            </a:r>
            <a:endParaRPr lang="en-IN" sz="2800" b="1" dirty="0">
              <a:solidFill>
                <a:srgbClr val="F22C2C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2243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0" y="0"/>
            <a:ext cx="719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 smtClean="0">
                <a:solidFill>
                  <a:srgbClr val="F22C2C"/>
                </a:solidFill>
                <a:ea typeface="Lato" panose="020F0502020204030203" pitchFamily="34" charset="0"/>
                <a:cs typeface="Lato" panose="020F0502020204030203" pitchFamily="34" charset="0"/>
              </a:rPr>
              <a:t>BACKEND DASHBOARD – ATANU TASKS</a:t>
            </a:r>
            <a:endParaRPr lang="en-IN" sz="2800" b="1" dirty="0">
              <a:solidFill>
                <a:srgbClr val="F22C2C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389966" y="523220"/>
            <a:ext cx="10529046" cy="566230"/>
            <a:chOff x="376519" y="631976"/>
            <a:chExt cx="9558348" cy="566230"/>
          </a:xfrm>
        </p:grpSpPr>
        <p:grpSp>
          <p:nvGrpSpPr>
            <p:cNvPr id="12" name="Group 11"/>
            <p:cNvGrpSpPr/>
            <p:nvPr/>
          </p:nvGrpSpPr>
          <p:grpSpPr>
            <a:xfrm>
              <a:off x="376519" y="637790"/>
              <a:ext cx="9558348" cy="560416"/>
              <a:chOff x="275333" y="307744"/>
              <a:chExt cx="7064520" cy="560416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275333" y="314162"/>
                <a:ext cx="2603923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Project Name: </a:t>
                </a:r>
                <a:r>
                  <a:rPr lang="en-IN" b="1" dirty="0" smtClean="0">
                    <a:solidFill>
                      <a:srgbClr val="00B0F0"/>
                    </a:solidFill>
                  </a:rPr>
                  <a:t> Shop Management</a:t>
                </a:r>
                <a:endParaRPr lang="en-IN" sz="2000" b="1" dirty="0"/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6690843" y="308592"/>
                <a:ext cx="649010" cy="5062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RAG:</a:t>
                </a:r>
                <a:endParaRPr lang="en-IN" sz="2000" b="1" dirty="0"/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4655466" y="307744"/>
                <a:ext cx="2154556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Duration:  </a:t>
                </a:r>
                <a:r>
                  <a:rPr lang="en-IN" sz="2000" b="1" dirty="0" smtClean="0">
                    <a:solidFill>
                      <a:srgbClr val="00B0F0"/>
                    </a:solidFill>
                  </a:rPr>
                  <a:t>31 Oct - 13 Nov</a:t>
                </a:r>
                <a:endParaRPr lang="en-IN" sz="2000" b="1" dirty="0"/>
              </a:p>
            </p:txBody>
          </p:sp>
        </p:grpSp>
        <p:sp>
          <p:nvSpPr>
            <p:cNvPr id="17" name="TextBox 16"/>
            <p:cNvSpPr txBox="1"/>
            <p:nvPr/>
          </p:nvSpPr>
          <p:spPr>
            <a:xfrm>
              <a:off x="3630139" y="631976"/>
              <a:ext cx="292329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IN" sz="2000" b="1" dirty="0" smtClean="0"/>
                <a:t>Current Sprint:  </a:t>
              </a:r>
              <a:r>
                <a:rPr lang="en-IN" sz="2000" b="1" dirty="0" smtClean="0">
                  <a:solidFill>
                    <a:srgbClr val="00B0F0"/>
                  </a:solidFill>
                </a:rPr>
                <a:t>Sprint 22</a:t>
              </a:r>
              <a:endParaRPr lang="en-IN" sz="2000" b="1" dirty="0"/>
            </a:p>
          </p:txBody>
        </p:sp>
      </p:grpSp>
      <p:sp>
        <p:nvSpPr>
          <p:cNvPr id="21" name="Oval 20"/>
          <p:cNvSpPr/>
          <p:nvPr/>
        </p:nvSpPr>
        <p:spPr>
          <a:xfrm>
            <a:off x="10878562" y="639430"/>
            <a:ext cx="455454" cy="420173"/>
          </a:xfrm>
          <a:prstGeom prst="ellipse">
            <a:avLst/>
          </a:prstGeom>
          <a:solidFill>
            <a:srgbClr val="23882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25" name="Group 24"/>
          <p:cNvGrpSpPr/>
          <p:nvPr/>
        </p:nvGrpSpPr>
        <p:grpSpPr>
          <a:xfrm>
            <a:off x="5930222" y="1341992"/>
            <a:ext cx="5150030" cy="4951426"/>
            <a:chOff x="567408" y="1304480"/>
            <a:chExt cx="5206292" cy="6108520"/>
          </a:xfrm>
          <a:noFill/>
        </p:grpSpPr>
        <p:sp>
          <p:nvSpPr>
            <p:cNvPr id="27" name="Rectangle 26"/>
            <p:cNvSpPr/>
            <p:nvPr/>
          </p:nvSpPr>
          <p:spPr>
            <a:xfrm>
              <a:off x="631066" y="1365161"/>
              <a:ext cx="5142634" cy="604783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567408" y="1304480"/>
              <a:ext cx="5206291" cy="1706284"/>
              <a:chOff x="690522" y="1274135"/>
              <a:chExt cx="5206291" cy="1706284"/>
            </a:xfrm>
            <a:grpFill/>
          </p:grpSpPr>
          <p:sp>
            <p:nvSpPr>
              <p:cNvPr id="29" name="TextBox 28"/>
              <p:cNvSpPr txBox="1"/>
              <p:nvPr/>
            </p:nvSpPr>
            <p:spPr>
              <a:xfrm>
                <a:off x="782293" y="1727407"/>
                <a:ext cx="5114520" cy="1253012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dirty="0"/>
                  <a:t>Total Tasks Picked Up </a:t>
                </a:r>
                <a:r>
                  <a:rPr lang="en-US" sz="2000" dirty="0" smtClean="0"/>
                  <a:t>Changepond: </a:t>
                </a:r>
                <a:r>
                  <a:rPr lang="en-US" sz="2000" b="1" dirty="0" smtClean="0">
                    <a:solidFill>
                      <a:srgbClr val="0070C0"/>
                    </a:solidFill>
                  </a:rPr>
                  <a:t>04</a:t>
                </a:r>
              </a:p>
              <a:p>
                <a:endParaRPr lang="en-US" sz="2000" b="1" dirty="0">
                  <a:solidFill>
                    <a:srgbClr val="0070C0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dirty="0"/>
                  <a:t>Total Tasks Planned  for Sprint</a:t>
                </a:r>
                <a:r>
                  <a:rPr lang="en-US" sz="2000" dirty="0" smtClean="0"/>
                  <a:t>: </a:t>
                </a:r>
                <a:r>
                  <a:rPr lang="en-US" sz="2000" b="1" dirty="0" smtClean="0">
                    <a:solidFill>
                      <a:srgbClr val="0070C0"/>
                    </a:solidFill>
                  </a:rPr>
                  <a:t>11</a:t>
                </a:r>
                <a:endParaRPr lang="en-US" sz="2000" dirty="0"/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690522" y="1274135"/>
                <a:ext cx="5142633" cy="496272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2000" b="1" dirty="0" smtClean="0"/>
                  <a:t>Note</a:t>
                </a:r>
                <a:endParaRPr lang="en-IN" sz="2000" b="1" dirty="0"/>
              </a:p>
            </p:txBody>
          </p:sp>
        </p:grpSp>
      </p:grpSp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2531155441"/>
              </p:ext>
            </p:extLst>
          </p:nvPr>
        </p:nvGraphicFramePr>
        <p:xfrm>
          <a:off x="389966" y="1379889"/>
          <a:ext cx="5245872" cy="4902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4161357198"/>
              </p:ext>
            </p:extLst>
          </p:nvPr>
        </p:nvGraphicFramePr>
        <p:xfrm>
          <a:off x="6220691" y="2940421"/>
          <a:ext cx="4214675" cy="3137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149785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5377896"/>
              </p:ext>
            </p:extLst>
          </p:nvPr>
        </p:nvGraphicFramePr>
        <p:xfrm>
          <a:off x="609601" y="1011384"/>
          <a:ext cx="11055926" cy="50291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892"/>
                <a:gridCol w="2479834"/>
                <a:gridCol w="1328482"/>
                <a:gridCol w="988980"/>
                <a:gridCol w="1757847"/>
                <a:gridCol w="1031967"/>
                <a:gridCol w="1215934"/>
                <a:gridCol w="1381990"/>
              </a:tblGrid>
              <a:tr h="6961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ITLE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SSIGNED TO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ATE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REA PATH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AGS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MMENTS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TERATION PATH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</a:tr>
              <a:tr h="104429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7694</a:t>
                      </a:r>
                      <a:endParaRPr lang="en-US" sz="1200" u="non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[Location Management][BE] - Temporary Closed to Open - status change control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>
                          <a:effectLst/>
                          <a:latin typeface="Calibri" panose="020F0502020204030204" pitchFamily="34" charset="0"/>
                        </a:rPr>
                        <a:t>Atanu Mazumdar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 smtClean="0">
                          <a:effectLst/>
                          <a:latin typeface="Calibri" panose="020F0502020204030204" pitchFamily="34" charset="0"/>
                        </a:rPr>
                        <a:t>Done Development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 err="1">
                          <a:effectLst/>
                          <a:latin typeface="Calibri" panose="020F0502020204030204" pitchFamily="34" charset="0"/>
                        </a:rPr>
                        <a:t>CorpApps_Dufry_Webfront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>
                          <a:effectLst/>
                          <a:latin typeface="Calibri" panose="020F0502020204030204" pitchFamily="34" charset="0"/>
                        </a:rPr>
                        <a:t>planned-TBD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>
                          <a:effectLst/>
                          <a:latin typeface="Calibri" panose="020F0502020204030204" pitchFamily="34" charset="0"/>
                        </a:rPr>
                        <a:t>CorpApps_Dufry_Webfront\Sprint 22-23</a:t>
                      </a:r>
                    </a:p>
                  </a:txBody>
                  <a:tcPr marL="9525" marR="9525" marT="9525" anchor="ctr"/>
                </a:tc>
              </a:tr>
              <a:tr h="120012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7652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[SQM] [BE] Bulk Update Location Size Information - upload process not working when locations with missing Local Shop Code are included in the template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>
                          <a:effectLst/>
                          <a:latin typeface="Calibri" panose="020F0502020204030204" pitchFamily="34" charset="0"/>
                        </a:rPr>
                        <a:t>Atanu Mazumdar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Done Development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 err="1">
                          <a:effectLst/>
                          <a:latin typeface="Calibri" panose="020F0502020204030204" pitchFamily="34" charset="0"/>
                        </a:rPr>
                        <a:t>CorpApps_Dufry_Webfront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>
                          <a:effectLst/>
                          <a:latin typeface="Calibri" panose="020F0502020204030204" pitchFamily="34" charset="0"/>
                        </a:rPr>
                        <a:t>planned-TBD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>
                          <a:effectLst/>
                          <a:latin typeface="Calibri" panose="020F0502020204030204" pitchFamily="34" charset="0"/>
                        </a:rPr>
                        <a:t>CorpApps_Dufry_Webfront\Sprint 22-23</a:t>
                      </a:r>
                    </a:p>
                  </a:txBody>
                  <a:tcPr marL="9525" marR="9525" marT="9525" anchor="ctr"/>
                </a:tc>
              </a:tr>
              <a:tr h="104429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7543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[SQM] [BE] Bulk Update Location Size Information - </a:t>
                      </a:r>
                      <a:r>
                        <a:rPr lang="en-US" sz="1200" dirty="0" err="1">
                          <a:effectLst/>
                          <a:latin typeface="Calibri" panose="020F0502020204030204" pitchFamily="34" charset="0"/>
                        </a:rPr>
                        <a:t>total_category_space</a:t>
                      </a:r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 is NOT updated in the </a:t>
                      </a:r>
                      <a:r>
                        <a:rPr lang="en-US" sz="1200" dirty="0" err="1">
                          <a:effectLst/>
                          <a:latin typeface="Calibri" panose="020F0502020204030204" pitchFamily="34" charset="0"/>
                        </a:rPr>
                        <a:t>db</a:t>
                      </a:r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 when new category values are uploaded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 err="1">
                          <a:effectLst/>
                          <a:latin typeface="Calibri" panose="020F0502020204030204" pitchFamily="34" charset="0"/>
                        </a:rPr>
                        <a:t>Atanu</a:t>
                      </a:r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alibri" panose="020F0502020204030204" pitchFamily="34" charset="0"/>
                        </a:rPr>
                        <a:t>Mazumdar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Done Development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 err="1">
                          <a:effectLst/>
                          <a:latin typeface="Calibri" panose="020F0502020204030204" pitchFamily="34" charset="0"/>
                        </a:rPr>
                        <a:t>CorpApps_Dufry_Webfront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planned-TBD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 err="1">
                          <a:effectLst/>
                          <a:latin typeface="Calibri" panose="020F0502020204030204" pitchFamily="34" charset="0"/>
                        </a:rPr>
                        <a:t>CorpApps_Dufry_Webfront</a:t>
                      </a:r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\Sprint 22-23</a:t>
                      </a:r>
                    </a:p>
                  </a:txBody>
                  <a:tcPr marL="9525" marR="9525" marT="9525" anchor="ctr"/>
                </a:tc>
              </a:tr>
              <a:tr h="104429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7726</a:t>
                      </a:r>
                      <a:endParaRPr lang="en-US" sz="1200" u="non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[Location Management][BE] - Location working days- Redesign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 err="1">
                          <a:effectLst/>
                          <a:latin typeface="Calibri" panose="020F0502020204030204" pitchFamily="34" charset="0"/>
                        </a:rPr>
                        <a:t>Atanu</a:t>
                      </a:r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dirty="0" err="1">
                          <a:effectLst/>
                          <a:latin typeface="Calibri" panose="020F0502020204030204" pitchFamily="34" charset="0"/>
                        </a:rPr>
                        <a:t>Mazumdar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Done Development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 err="1">
                          <a:effectLst/>
                          <a:latin typeface="Calibri" panose="020F0502020204030204" pitchFamily="34" charset="0"/>
                        </a:rPr>
                        <a:t>CorpApps_Dufry_Webfront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planned-TBD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 err="1">
                          <a:effectLst/>
                          <a:latin typeface="Calibri" panose="020F0502020204030204" pitchFamily="34" charset="0"/>
                        </a:rPr>
                        <a:t>CorpApps_Dufry_Webfront</a:t>
                      </a:r>
                      <a:r>
                        <a:rPr lang="en-US" sz="1200" dirty="0">
                          <a:effectLst/>
                          <a:latin typeface="Calibri" panose="020F0502020204030204" pitchFamily="34" charset="0"/>
                        </a:rPr>
                        <a:t>\Sprint 22-23</a:t>
                      </a:r>
                    </a:p>
                  </a:txBody>
                  <a:tcPr marL="9525" marR="9525" marT="9525" anchor="ctr"/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190666" y="180109"/>
            <a:ext cx="32591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srgbClr val="F22C2C"/>
                </a:solidFill>
                <a:ea typeface="Lato" panose="020F0502020204030203" pitchFamily="34" charset="0"/>
                <a:cs typeface="Lato" panose="020F0502020204030203" pitchFamily="34" charset="0"/>
              </a:rPr>
              <a:t>ATANU TASKS</a:t>
            </a:r>
            <a:endParaRPr lang="en-IN" sz="2800" b="1" dirty="0">
              <a:solidFill>
                <a:srgbClr val="F22C2C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107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0" y="0"/>
            <a:ext cx="7194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 smtClean="0">
                <a:solidFill>
                  <a:srgbClr val="F22C2C"/>
                </a:solidFill>
                <a:ea typeface="Lato" panose="020F0502020204030203" pitchFamily="34" charset="0"/>
                <a:cs typeface="Lato" panose="020F0502020204030203" pitchFamily="34" charset="0"/>
              </a:rPr>
              <a:t>BACKEND DASHBOARD – ASHISH  </a:t>
            </a:r>
            <a:endParaRPr lang="en-IN" sz="2800" b="1" dirty="0">
              <a:solidFill>
                <a:srgbClr val="F22C2C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389966" y="523220"/>
            <a:ext cx="10529046" cy="566230"/>
            <a:chOff x="376519" y="631976"/>
            <a:chExt cx="9558348" cy="566230"/>
          </a:xfrm>
        </p:grpSpPr>
        <p:grpSp>
          <p:nvGrpSpPr>
            <p:cNvPr id="12" name="Group 11"/>
            <p:cNvGrpSpPr/>
            <p:nvPr/>
          </p:nvGrpSpPr>
          <p:grpSpPr>
            <a:xfrm>
              <a:off x="376519" y="637790"/>
              <a:ext cx="9558348" cy="560416"/>
              <a:chOff x="275333" y="307744"/>
              <a:chExt cx="7064520" cy="560416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275333" y="314162"/>
                <a:ext cx="2603923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Project Name: </a:t>
                </a:r>
                <a:r>
                  <a:rPr lang="en-IN" b="1" dirty="0" smtClean="0">
                    <a:solidFill>
                      <a:srgbClr val="00B0F0"/>
                    </a:solidFill>
                  </a:rPr>
                  <a:t> A&amp;P</a:t>
                </a:r>
                <a:endParaRPr lang="en-IN" sz="2000" b="1" dirty="0"/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6690843" y="308592"/>
                <a:ext cx="649010" cy="5062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RAG:</a:t>
                </a:r>
                <a:endParaRPr lang="en-IN" sz="2000" b="1" dirty="0"/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4655466" y="307744"/>
                <a:ext cx="2154556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IN" sz="2000" b="1" dirty="0" smtClean="0"/>
                  <a:t>Duration:  </a:t>
                </a:r>
                <a:r>
                  <a:rPr lang="en-IN" sz="2000" b="1" dirty="0" smtClean="0">
                    <a:solidFill>
                      <a:srgbClr val="00B0F0"/>
                    </a:solidFill>
                  </a:rPr>
                  <a:t>31 Oct - 13 Nov</a:t>
                </a:r>
                <a:endParaRPr lang="en-IN" sz="2000" b="1" dirty="0"/>
              </a:p>
            </p:txBody>
          </p:sp>
        </p:grpSp>
        <p:sp>
          <p:nvSpPr>
            <p:cNvPr id="17" name="TextBox 16"/>
            <p:cNvSpPr txBox="1"/>
            <p:nvPr/>
          </p:nvSpPr>
          <p:spPr>
            <a:xfrm>
              <a:off x="3630139" y="631976"/>
              <a:ext cx="292329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IN" sz="2000" b="1" dirty="0" smtClean="0"/>
                <a:t>Current Sprint:  </a:t>
              </a:r>
              <a:r>
                <a:rPr lang="en-IN" sz="2000" b="1" dirty="0" smtClean="0">
                  <a:solidFill>
                    <a:srgbClr val="00B0F0"/>
                  </a:solidFill>
                </a:rPr>
                <a:t>Sprint 22</a:t>
              </a:r>
              <a:endParaRPr lang="en-IN" sz="2000" b="1" dirty="0"/>
            </a:p>
          </p:txBody>
        </p:sp>
      </p:grpSp>
      <p:sp>
        <p:nvSpPr>
          <p:cNvPr id="21" name="Oval 20"/>
          <p:cNvSpPr/>
          <p:nvPr/>
        </p:nvSpPr>
        <p:spPr>
          <a:xfrm>
            <a:off x="10878562" y="639430"/>
            <a:ext cx="455454" cy="420173"/>
          </a:xfrm>
          <a:prstGeom prst="ellipse">
            <a:avLst/>
          </a:prstGeom>
          <a:solidFill>
            <a:srgbClr val="23882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25" name="Group 24"/>
          <p:cNvGrpSpPr/>
          <p:nvPr/>
        </p:nvGrpSpPr>
        <p:grpSpPr>
          <a:xfrm>
            <a:off x="5930222" y="1341992"/>
            <a:ext cx="5150030" cy="4951426"/>
            <a:chOff x="567408" y="1304480"/>
            <a:chExt cx="5206292" cy="6108520"/>
          </a:xfrm>
        </p:grpSpPr>
        <p:sp>
          <p:nvSpPr>
            <p:cNvPr id="27" name="Rectangle 26"/>
            <p:cNvSpPr/>
            <p:nvPr/>
          </p:nvSpPr>
          <p:spPr>
            <a:xfrm>
              <a:off x="631066" y="1365161"/>
              <a:ext cx="5142634" cy="60478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567408" y="1304480"/>
              <a:ext cx="5206291" cy="1706284"/>
              <a:chOff x="690522" y="1274135"/>
              <a:chExt cx="5206291" cy="1706284"/>
            </a:xfrm>
          </p:grpSpPr>
          <p:sp>
            <p:nvSpPr>
              <p:cNvPr id="29" name="TextBox 28"/>
              <p:cNvSpPr txBox="1"/>
              <p:nvPr/>
            </p:nvSpPr>
            <p:spPr>
              <a:xfrm>
                <a:off x="782293" y="1727407"/>
                <a:ext cx="5114520" cy="12530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dirty="0"/>
                  <a:t>Total Tasks Picked Up </a:t>
                </a:r>
                <a:r>
                  <a:rPr lang="en-US" sz="2000" dirty="0" smtClean="0"/>
                  <a:t>Changepond: </a:t>
                </a:r>
                <a:r>
                  <a:rPr lang="en-US" sz="2000" b="1" dirty="0" smtClean="0">
                    <a:solidFill>
                      <a:srgbClr val="0070C0"/>
                    </a:solidFill>
                  </a:rPr>
                  <a:t>05</a:t>
                </a:r>
              </a:p>
              <a:p>
                <a:endParaRPr lang="en-US" sz="2000" b="1" dirty="0">
                  <a:solidFill>
                    <a:srgbClr val="0070C0"/>
                  </a:solidFill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dirty="0"/>
                  <a:t>Total Tasks Planned  for Sprint</a:t>
                </a:r>
                <a:r>
                  <a:rPr lang="en-US" sz="2000" dirty="0" smtClean="0"/>
                  <a:t>: </a:t>
                </a:r>
                <a:r>
                  <a:rPr lang="en-US" sz="2000" b="1" dirty="0" smtClean="0">
                    <a:solidFill>
                      <a:srgbClr val="0070C0"/>
                    </a:solidFill>
                  </a:rPr>
                  <a:t>05</a:t>
                </a:r>
                <a:endParaRPr lang="en-US" sz="2000" dirty="0"/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690522" y="1274135"/>
                <a:ext cx="5142633" cy="4962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2000" b="1" dirty="0" smtClean="0"/>
                  <a:t>Note</a:t>
                </a:r>
                <a:endParaRPr lang="en-IN" sz="2000" b="1" dirty="0"/>
              </a:p>
            </p:txBody>
          </p:sp>
        </p:grpSp>
      </p:grpSp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2271420829"/>
              </p:ext>
            </p:extLst>
          </p:nvPr>
        </p:nvGraphicFramePr>
        <p:xfrm>
          <a:off x="240925" y="1386120"/>
          <a:ext cx="5245872" cy="4902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6" name="Chart 25"/>
          <p:cNvGraphicFramePr/>
          <p:nvPr>
            <p:extLst>
              <p:ext uri="{D42A27DB-BD31-4B8C-83A1-F6EECF244321}">
                <p14:modId xmlns:p14="http://schemas.microsoft.com/office/powerpoint/2010/main" val="4228950638"/>
              </p:ext>
            </p:extLst>
          </p:nvPr>
        </p:nvGraphicFramePr>
        <p:xfrm>
          <a:off x="6324399" y="2884235"/>
          <a:ext cx="4385165" cy="3137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422236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8</TotalTime>
  <Words>1106</Words>
  <Application>Microsoft Office PowerPoint</Application>
  <PresentationFormat>Widescreen</PresentationFormat>
  <Paragraphs>276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Calibri Light</vt:lpstr>
      <vt:lpstr>Lato</vt:lpstr>
      <vt:lpstr>Wingdings</vt:lpstr>
      <vt:lpstr>Office Theme</vt:lpstr>
      <vt:lpstr>think-cell Slide</vt:lpstr>
      <vt:lpstr>AVOLTA (DUFRY) BI-WEEKLY REVIEW</vt:lpstr>
      <vt:lpstr>PowerPoint Presentation</vt:lpstr>
      <vt:lpstr>A &amp; P Modernization Statu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VOLTA (DUFRY) BI-WEEKLY REVIEW</dc:title>
  <dc:creator>Sathishkumar A</dc:creator>
  <cp:lastModifiedBy>Sakthivel Ramachandran Vadivel</cp:lastModifiedBy>
  <cp:revision>85</cp:revision>
  <dcterms:created xsi:type="dcterms:W3CDTF">2023-11-07T09:11:28Z</dcterms:created>
  <dcterms:modified xsi:type="dcterms:W3CDTF">2023-11-09T09:37:31Z</dcterms:modified>
</cp:coreProperties>
</file>